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24"/>
  </p:notesMasterIdLst>
  <p:sldIdLst>
    <p:sldId id="256" r:id="rId5"/>
    <p:sldId id="1604" r:id="rId6"/>
    <p:sldId id="1461" r:id="rId7"/>
    <p:sldId id="1444" r:id="rId8"/>
    <p:sldId id="1434" r:id="rId9"/>
    <p:sldId id="1437" r:id="rId10"/>
    <p:sldId id="1438" r:id="rId11"/>
    <p:sldId id="1440" r:id="rId12"/>
    <p:sldId id="1441" r:id="rId13"/>
    <p:sldId id="1443" r:id="rId14"/>
    <p:sldId id="1537" r:id="rId15"/>
    <p:sldId id="1427" r:id="rId16"/>
    <p:sldId id="1428" r:id="rId17"/>
    <p:sldId id="1435" r:id="rId18"/>
    <p:sldId id="1436" r:id="rId19"/>
    <p:sldId id="1439" r:id="rId20"/>
    <p:sldId id="1442" r:id="rId21"/>
    <p:sldId id="1526" r:id="rId22"/>
    <p:sldId id="1425" r:id="rId23"/>
  </p:sldIdLst>
  <p:sldSz cx="9144000" cy="5143500" type="screen16x9"/>
  <p:notesSz cx="6858000" cy="9144000"/>
  <p:custDataLst>
    <p:tags r:id="rId25"/>
  </p:custDataLst>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43">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781EADA-B33A-31CA-FE0C-129C4F82D78C}" name="Maillard, Alexiane" initials="MA" userId="Maillard, Alexiane"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4D4D4"/>
    <a:srgbClr val="CBD8CD"/>
    <a:srgbClr val="F5E4E5"/>
    <a:srgbClr val="00802E"/>
    <a:srgbClr val="0A5F2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65E2832-7A2A-4ABD-9FC7-B37C5DEAA4BB}" v="2" dt="2023-05-04T21:07:16.96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942" autoAdjust="0"/>
    <p:restoredTop sz="94673"/>
  </p:normalViewPr>
  <p:slideViewPr>
    <p:cSldViewPr snapToGrid="0" snapToObjects="1">
      <p:cViewPr varScale="1">
        <p:scale>
          <a:sx n="117" d="100"/>
          <a:sy n="117" d="100"/>
        </p:scale>
        <p:origin x="75" y="42"/>
      </p:cViewPr>
      <p:guideLst>
        <p:guide orient="horz" pos="1643"/>
        <p:guide pos="2880"/>
      </p:guideLst>
    </p:cSldViewPr>
  </p:slideViewPr>
  <p:notesTextViewPr>
    <p:cViewPr>
      <p:scale>
        <a:sx n="1" d="1"/>
        <a:sy n="1" d="1"/>
      </p:scale>
      <p:origin x="0" y="0"/>
    </p:cViewPr>
  </p:notesTextViewPr>
  <p:notesViewPr>
    <p:cSldViewPr snapToGrid="0" snapToObject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2"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ximilianGeorgHans" userId="9ebc2721-5e1f-48f6-9917-3c064a8a3a92" providerId="ADAL" clId="{7DDEA396-6DED-4803-AC38-72F9A275843C}"/>
    <pc:docChg chg="custSel addSld delSld modSld">
      <pc:chgData name="MaximilianGeorgHans" userId="9ebc2721-5e1f-48f6-9917-3c064a8a3a92" providerId="ADAL" clId="{7DDEA396-6DED-4803-AC38-72F9A275843C}" dt="2023-03-30T13:44:39.480" v="30"/>
      <pc:docMkLst>
        <pc:docMk/>
      </pc:docMkLst>
      <pc:sldChg chg="modSp mod">
        <pc:chgData name="MaximilianGeorgHans" userId="9ebc2721-5e1f-48f6-9917-3c064a8a3a92" providerId="ADAL" clId="{7DDEA396-6DED-4803-AC38-72F9A275843C}" dt="2023-03-28T16:33:55.259" v="7" actId="790"/>
        <pc:sldMkLst>
          <pc:docMk/>
          <pc:sldMk cId="1987410233" sldId="1534"/>
        </pc:sldMkLst>
        <pc:spChg chg="mod">
          <ac:chgData name="MaximilianGeorgHans" userId="9ebc2721-5e1f-48f6-9917-3c064a8a3a92" providerId="ADAL" clId="{7DDEA396-6DED-4803-AC38-72F9A275843C}" dt="2023-03-28T16:33:55.259" v="7" actId="790"/>
          <ac:spMkLst>
            <pc:docMk/>
            <pc:sldMk cId="1987410233" sldId="1534"/>
            <ac:spMk id="10" creationId="{F5FB8E51-CCDD-664A-3148-19850B774843}"/>
          </ac:spMkLst>
        </pc:spChg>
        <pc:spChg chg="mod">
          <ac:chgData name="MaximilianGeorgHans" userId="9ebc2721-5e1f-48f6-9917-3c064a8a3a92" providerId="ADAL" clId="{7DDEA396-6DED-4803-AC38-72F9A275843C}" dt="2023-03-28T16:33:53.013" v="6" actId="790"/>
          <ac:spMkLst>
            <pc:docMk/>
            <pc:sldMk cId="1987410233" sldId="1534"/>
            <ac:spMk id="12" creationId="{C1B65844-8C14-5DE9-F30E-D3B47C5EADE0}"/>
          </ac:spMkLst>
        </pc:spChg>
      </pc:sldChg>
      <pc:sldChg chg="modSp mod">
        <pc:chgData name="MaximilianGeorgHans" userId="9ebc2721-5e1f-48f6-9917-3c064a8a3a92" providerId="ADAL" clId="{7DDEA396-6DED-4803-AC38-72F9A275843C}" dt="2023-03-28T16:33:44.074" v="5" actId="790"/>
        <pc:sldMkLst>
          <pc:docMk/>
          <pc:sldMk cId="1281915614" sldId="1535"/>
        </pc:sldMkLst>
        <pc:spChg chg="mod">
          <ac:chgData name="MaximilianGeorgHans" userId="9ebc2721-5e1f-48f6-9917-3c064a8a3a92" providerId="ADAL" clId="{7DDEA396-6DED-4803-AC38-72F9A275843C}" dt="2023-03-28T16:33:44.074" v="5" actId="790"/>
          <ac:spMkLst>
            <pc:docMk/>
            <pc:sldMk cId="1281915614" sldId="1535"/>
            <ac:spMk id="9" creationId="{29596F6B-767B-0B7C-B4C3-62792847DDD0}"/>
          </ac:spMkLst>
        </pc:spChg>
        <pc:spChg chg="mod">
          <ac:chgData name="MaximilianGeorgHans" userId="9ebc2721-5e1f-48f6-9917-3c064a8a3a92" providerId="ADAL" clId="{7DDEA396-6DED-4803-AC38-72F9A275843C}" dt="2023-03-28T16:33:44.066" v="4" actId="790"/>
          <ac:spMkLst>
            <pc:docMk/>
            <pc:sldMk cId="1281915614" sldId="1535"/>
            <ac:spMk id="10" creationId="{F5FB8E51-CCDD-664A-3148-19850B774843}"/>
          </ac:spMkLst>
        </pc:spChg>
        <pc:spChg chg="mod">
          <ac:chgData name="MaximilianGeorgHans" userId="9ebc2721-5e1f-48f6-9917-3c064a8a3a92" providerId="ADAL" clId="{7DDEA396-6DED-4803-AC38-72F9A275843C}" dt="2023-03-28T16:33:37.774" v="3" actId="790"/>
          <ac:spMkLst>
            <pc:docMk/>
            <pc:sldMk cId="1281915614" sldId="1535"/>
            <ac:spMk id="12" creationId="{C1B65844-8C14-5DE9-F30E-D3B47C5EADE0}"/>
          </ac:spMkLst>
        </pc:spChg>
      </pc:sldChg>
      <pc:sldChg chg="del">
        <pc:chgData name="MaximilianGeorgHans" userId="9ebc2721-5e1f-48f6-9917-3c064a8a3a92" providerId="ADAL" clId="{7DDEA396-6DED-4803-AC38-72F9A275843C}" dt="2023-03-30T13:42:19.014" v="19" actId="47"/>
        <pc:sldMkLst>
          <pc:docMk/>
          <pc:sldMk cId="2346118516" sldId="1552"/>
        </pc:sldMkLst>
      </pc:sldChg>
      <pc:sldChg chg="modSp mod">
        <pc:chgData name="MaximilianGeorgHans" userId="9ebc2721-5e1f-48f6-9917-3c064a8a3a92" providerId="ADAL" clId="{7DDEA396-6DED-4803-AC38-72F9A275843C}" dt="2023-03-28T16:34:17.774" v="16" actId="33524"/>
        <pc:sldMkLst>
          <pc:docMk/>
          <pc:sldMk cId="1010709420" sldId="1556"/>
        </pc:sldMkLst>
        <pc:spChg chg="mod">
          <ac:chgData name="MaximilianGeorgHans" userId="9ebc2721-5e1f-48f6-9917-3c064a8a3a92" providerId="ADAL" clId="{7DDEA396-6DED-4803-AC38-72F9A275843C}" dt="2023-03-28T16:34:17.774" v="16" actId="33524"/>
          <ac:spMkLst>
            <pc:docMk/>
            <pc:sldMk cId="1010709420" sldId="1556"/>
            <ac:spMk id="3" creationId="{7200AB28-37E6-C58A-6A0C-626DE7F04E04}"/>
          </ac:spMkLst>
        </pc:spChg>
        <pc:spChg chg="mod">
          <ac:chgData name="MaximilianGeorgHans" userId="9ebc2721-5e1f-48f6-9917-3c064a8a3a92" providerId="ADAL" clId="{7DDEA396-6DED-4803-AC38-72F9A275843C}" dt="2023-03-28T16:34:12.465" v="14" actId="790"/>
          <ac:spMkLst>
            <pc:docMk/>
            <pc:sldMk cId="1010709420" sldId="1556"/>
            <ac:spMk id="6" creationId="{347AE98E-C40A-2C4A-C51C-ED0F6062C144}"/>
          </ac:spMkLst>
        </pc:spChg>
        <pc:spChg chg="mod">
          <ac:chgData name="MaximilianGeorgHans" userId="9ebc2721-5e1f-48f6-9917-3c064a8a3a92" providerId="ADAL" clId="{7DDEA396-6DED-4803-AC38-72F9A275843C}" dt="2023-03-28T16:34:12.465" v="15" actId="790"/>
          <ac:spMkLst>
            <pc:docMk/>
            <pc:sldMk cId="1010709420" sldId="1556"/>
            <ac:spMk id="8" creationId="{97E189DF-7CEA-402E-F94F-EBD889DB6B43}"/>
          </ac:spMkLst>
        </pc:spChg>
        <pc:spChg chg="mod">
          <ac:chgData name="MaximilianGeorgHans" userId="9ebc2721-5e1f-48f6-9917-3c064a8a3a92" providerId="ADAL" clId="{7DDEA396-6DED-4803-AC38-72F9A275843C}" dt="2023-03-28T16:34:12.462" v="11" actId="790"/>
          <ac:spMkLst>
            <pc:docMk/>
            <pc:sldMk cId="1010709420" sldId="1556"/>
            <ac:spMk id="10" creationId="{628828DB-531D-F991-C229-A549761D9E5B}"/>
          </ac:spMkLst>
        </pc:spChg>
        <pc:spChg chg="mod">
          <ac:chgData name="MaximilianGeorgHans" userId="9ebc2721-5e1f-48f6-9917-3c064a8a3a92" providerId="ADAL" clId="{7DDEA396-6DED-4803-AC38-72F9A275843C}" dt="2023-03-28T16:34:12.440" v="8" actId="790"/>
          <ac:spMkLst>
            <pc:docMk/>
            <pc:sldMk cId="1010709420" sldId="1556"/>
            <ac:spMk id="15" creationId="{2D14ECEC-FB7A-634A-9DA9-D84202DABF4C}"/>
          </ac:spMkLst>
        </pc:spChg>
        <pc:spChg chg="mod">
          <ac:chgData name="MaximilianGeorgHans" userId="9ebc2721-5e1f-48f6-9917-3c064a8a3a92" providerId="ADAL" clId="{7DDEA396-6DED-4803-AC38-72F9A275843C}" dt="2023-03-28T16:34:12.460" v="10" actId="790"/>
          <ac:spMkLst>
            <pc:docMk/>
            <pc:sldMk cId="1010709420" sldId="1556"/>
            <ac:spMk id="19" creationId="{25D9B379-0D2E-942C-23A5-215EC3922DE0}"/>
          </ac:spMkLst>
        </pc:spChg>
        <pc:spChg chg="mod">
          <ac:chgData name="MaximilianGeorgHans" userId="9ebc2721-5e1f-48f6-9917-3c064a8a3a92" providerId="ADAL" clId="{7DDEA396-6DED-4803-AC38-72F9A275843C}" dt="2023-03-28T16:34:12.464" v="13" actId="790"/>
          <ac:spMkLst>
            <pc:docMk/>
            <pc:sldMk cId="1010709420" sldId="1556"/>
            <ac:spMk id="20" creationId="{E6BBB3EF-6EB1-D350-5E2E-C9ACFCD1C0EF}"/>
          </ac:spMkLst>
        </pc:spChg>
        <pc:spChg chg="mod">
          <ac:chgData name="MaximilianGeorgHans" userId="9ebc2721-5e1f-48f6-9917-3c064a8a3a92" providerId="ADAL" clId="{7DDEA396-6DED-4803-AC38-72F9A275843C}" dt="2023-03-28T16:34:12.463" v="12" actId="790"/>
          <ac:spMkLst>
            <pc:docMk/>
            <pc:sldMk cId="1010709420" sldId="1556"/>
            <ac:spMk id="22" creationId="{94593E11-990B-4652-D466-CF833FF6383B}"/>
          </ac:spMkLst>
        </pc:spChg>
      </pc:sldChg>
      <pc:sldChg chg="modSp mod">
        <pc:chgData name="MaximilianGeorgHans" userId="9ebc2721-5e1f-48f6-9917-3c064a8a3a92" providerId="ADAL" clId="{7DDEA396-6DED-4803-AC38-72F9A275843C}" dt="2023-03-28T16:34:29.645" v="17" actId="790"/>
        <pc:sldMkLst>
          <pc:docMk/>
          <pc:sldMk cId="1539011393" sldId="1557"/>
        </pc:sldMkLst>
        <pc:spChg chg="mod">
          <ac:chgData name="MaximilianGeorgHans" userId="9ebc2721-5e1f-48f6-9917-3c064a8a3a92" providerId="ADAL" clId="{7DDEA396-6DED-4803-AC38-72F9A275843C}" dt="2023-03-28T16:25:02.508" v="0" actId="313"/>
          <ac:spMkLst>
            <pc:docMk/>
            <pc:sldMk cId="1539011393" sldId="1557"/>
            <ac:spMk id="3" creationId="{3BE6757C-FC4D-A73C-1685-40DF86B9FC9A}"/>
          </ac:spMkLst>
        </pc:spChg>
        <pc:spChg chg="mod">
          <ac:chgData name="MaximilianGeorgHans" userId="9ebc2721-5e1f-48f6-9917-3c064a8a3a92" providerId="ADAL" clId="{7DDEA396-6DED-4803-AC38-72F9A275843C}" dt="2023-03-28T16:34:29.645" v="17" actId="790"/>
          <ac:spMkLst>
            <pc:docMk/>
            <pc:sldMk cId="1539011393" sldId="1557"/>
            <ac:spMk id="7" creationId="{29E70361-E8E8-4B53-4EE9-F792398B9C08}"/>
          </ac:spMkLst>
        </pc:spChg>
      </pc:sldChg>
      <pc:sldChg chg="modSp mod">
        <pc:chgData name="MaximilianGeorgHans" userId="9ebc2721-5e1f-48f6-9917-3c064a8a3a92" providerId="ADAL" clId="{7DDEA396-6DED-4803-AC38-72F9A275843C}" dt="2023-03-28T16:32:32.222" v="2" actId="790"/>
        <pc:sldMkLst>
          <pc:docMk/>
          <pc:sldMk cId="312220956" sldId="1559"/>
        </pc:sldMkLst>
        <pc:spChg chg="mod">
          <ac:chgData name="MaximilianGeorgHans" userId="9ebc2721-5e1f-48f6-9917-3c064a8a3a92" providerId="ADAL" clId="{7DDEA396-6DED-4803-AC38-72F9A275843C}" dt="2023-03-28T16:32:32.222" v="2" actId="790"/>
          <ac:spMkLst>
            <pc:docMk/>
            <pc:sldMk cId="312220956" sldId="1559"/>
            <ac:spMk id="3" creationId="{9114EA47-D518-7860-DC8F-913EBD6170CB}"/>
          </ac:spMkLst>
        </pc:spChg>
        <pc:spChg chg="mod">
          <ac:chgData name="MaximilianGeorgHans" userId="9ebc2721-5e1f-48f6-9917-3c064a8a3a92" providerId="ADAL" clId="{7DDEA396-6DED-4803-AC38-72F9A275843C}" dt="2023-03-28T16:32:28.791" v="1" actId="790"/>
          <ac:spMkLst>
            <pc:docMk/>
            <pc:sldMk cId="312220956" sldId="1559"/>
            <ac:spMk id="4" creationId="{D1E91B4C-FDEB-8FF6-5472-D87D4C19CC4E}"/>
          </ac:spMkLst>
        </pc:spChg>
      </pc:sldChg>
      <pc:sldChg chg="addSp delSp modSp add mod">
        <pc:chgData name="MaximilianGeorgHans" userId="9ebc2721-5e1f-48f6-9917-3c064a8a3a92" providerId="ADAL" clId="{7DDEA396-6DED-4803-AC38-72F9A275843C}" dt="2023-03-30T13:44:39.480" v="30"/>
        <pc:sldMkLst>
          <pc:docMk/>
          <pc:sldMk cId="1654830134" sldId="1565"/>
        </pc:sldMkLst>
        <pc:picChg chg="add del mod">
          <ac:chgData name="MaximilianGeorgHans" userId="9ebc2721-5e1f-48f6-9917-3c064a8a3a92" providerId="ADAL" clId="{7DDEA396-6DED-4803-AC38-72F9A275843C}" dt="2023-03-30T13:44:38.099" v="28" actId="21"/>
          <ac:picMkLst>
            <pc:docMk/>
            <pc:sldMk cId="1654830134" sldId="1565"/>
            <ac:picMk id="3" creationId="{B6DAD94C-99DA-D0CC-58AB-7F6B4D085D85}"/>
          </ac:picMkLst>
        </pc:picChg>
        <pc:picChg chg="del">
          <ac:chgData name="MaximilianGeorgHans" userId="9ebc2721-5e1f-48f6-9917-3c064a8a3a92" providerId="ADAL" clId="{7DDEA396-6DED-4803-AC38-72F9A275843C}" dt="2023-03-30T13:44:39.123" v="29" actId="478"/>
          <ac:picMkLst>
            <pc:docMk/>
            <pc:sldMk cId="1654830134" sldId="1565"/>
            <ac:picMk id="4" creationId="{61993B0D-8034-538F-4DE0-57C5DD3A15B1}"/>
          </ac:picMkLst>
        </pc:picChg>
        <pc:picChg chg="add mod">
          <ac:chgData name="MaximilianGeorgHans" userId="9ebc2721-5e1f-48f6-9917-3c064a8a3a92" providerId="ADAL" clId="{7DDEA396-6DED-4803-AC38-72F9A275843C}" dt="2023-03-30T13:44:39.480" v="30"/>
          <ac:picMkLst>
            <pc:docMk/>
            <pc:sldMk cId="1654830134" sldId="1565"/>
            <ac:picMk id="7" creationId="{51802917-1C6F-36AC-7FF6-7787796C1FAE}"/>
          </ac:picMkLst>
        </pc:picChg>
      </pc:sldChg>
      <pc:sldChg chg="add">
        <pc:chgData name="MaximilianGeorgHans" userId="9ebc2721-5e1f-48f6-9917-3c064a8a3a92" providerId="ADAL" clId="{7DDEA396-6DED-4803-AC38-72F9A275843C}" dt="2023-03-30T13:42:15.951" v="18"/>
        <pc:sldMkLst>
          <pc:docMk/>
          <pc:sldMk cId="1131304089" sldId="1566"/>
        </pc:sldMkLst>
      </pc:sldChg>
      <pc:sldChg chg="add">
        <pc:chgData name="MaximilianGeorgHans" userId="9ebc2721-5e1f-48f6-9917-3c064a8a3a92" providerId="ADAL" clId="{7DDEA396-6DED-4803-AC38-72F9A275843C}" dt="2023-03-30T13:42:15.951" v="18"/>
        <pc:sldMkLst>
          <pc:docMk/>
          <pc:sldMk cId="2947939728" sldId="1567"/>
        </pc:sldMkLst>
      </pc:sldChg>
      <pc:sldChg chg="add">
        <pc:chgData name="MaximilianGeorgHans" userId="9ebc2721-5e1f-48f6-9917-3c064a8a3a92" providerId="ADAL" clId="{7DDEA396-6DED-4803-AC38-72F9A275843C}" dt="2023-03-30T13:42:15.951" v="18"/>
        <pc:sldMkLst>
          <pc:docMk/>
          <pc:sldMk cId="2671201041" sldId="1568"/>
        </pc:sldMkLst>
      </pc:sldChg>
      <pc:sldChg chg="add">
        <pc:chgData name="MaximilianGeorgHans" userId="9ebc2721-5e1f-48f6-9917-3c064a8a3a92" providerId="ADAL" clId="{7DDEA396-6DED-4803-AC38-72F9A275843C}" dt="2023-03-30T13:42:15.951" v="18"/>
        <pc:sldMkLst>
          <pc:docMk/>
          <pc:sldMk cId="1496210347" sldId="1569"/>
        </pc:sldMkLst>
      </pc:sldChg>
      <pc:sldChg chg="add">
        <pc:chgData name="MaximilianGeorgHans" userId="9ebc2721-5e1f-48f6-9917-3c064a8a3a92" providerId="ADAL" clId="{7DDEA396-6DED-4803-AC38-72F9A275843C}" dt="2023-03-30T13:42:15.951" v="18"/>
        <pc:sldMkLst>
          <pc:docMk/>
          <pc:sldMk cId="825061669" sldId="1570"/>
        </pc:sldMkLst>
      </pc:sldChg>
    </pc:docChg>
  </pc:docChgLst>
  <pc:docChgLst>
    <pc:chgData name="Dominik Buchegger" userId="7f2052fac20aabcc" providerId="LiveId" clId="{29FA8417-6B0D-46BE-9EC8-FD3689C05EF9}"/>
    <pc:docChg chg="undo redo custSel addSld delSld modSld sldOrd">
      <pc:chgData name="Dominik Buchegger" userId="7f2052fac20aabcc" providerId="LiveId" clId="{29FA8417-6B0D-46BE-9EC8-FD3689C05EF9}" dt="2023-04-23T09:48:36.890" v="7972" actId="27636"/>
      <pc:docMkLst>
        <pc:docMk/>
      </pc:docMkLst>
      <pc:sldChg chg="modSp mod">
        <pc:chgData name="Dominik Buchegger" userId="7f2052fac20aabcc" providerId="LiveId" clId="{29FA8417-6B0D-46BE-9EC8-FD3689C05EF9}" dt="2023-04-21T07:26:09.836" v="4" actId="20577"/>
        <pc:sldMkLst>
          <pc:docMk/>
          <pc:sldMk cId="3772496692" sldId="256"/>
        </pc:sldMkLst>
        <pc:spChg chg="mod">
          <ac:chgData name="Dominik Buchegger" userId="7f2052fac20aabcc" providerId="LiveId" clId="{29FA8417-6B0D-46BE-9EC8-FD3689C05EF9}" dt="2023-04-21T07:26:09.836" v="4" actId="20577"/>
          <ac:spMkLst>
            <pc:docMk/>
            <pc:sldMk cId="3772496692" sldId="256"/>
            <ac:spMk id="13" creationId="{0C11E479-9B3A-42D2-A07C-80F9E924336D}"/>
          </ac:spMkLst>
        </pc:spChg>
      </pc:sldChg>
      <pc:sldChg chg="addSp delSp modSp add mod ord">
        <pc:chgData name="Dominik Buchegger" userId="7f2052fac20aabcc" providerId="LiveId" clId="{29FA8417-6B0D-46BE-9EC8-FD3689C05EF9}" dt="2023-04-21T09:47:43.630" v="7813"/>
        <pc:sldMkLst>
          <pc:docMk/>
          <pc:sldMk cId="3527397213" sldId="325"/>
        </pc:sldMkLst>
        <pc:spChg chg="mod">
          <ac:chgData name="Dominik Buchegger" userId="7f2052fac20aabcc" providerId="LiveId" clId="{29FA8417-6B0D-46BE-9EC8-FD3689C05EF9}" dt="2023-04-21T08:41:40.132" v="2945" actId="207"/>
          <ac:spMkLst>
            <pc:docMk/>
            <pc:sldMk cId="3527397213" sldId="325"/>
            <ac:spMk id="2" creationId="{A6A00921-825B-4F01-B434-F18EC92753F3}"/>
          </ac:spMkLst>
        </pc:spChg>
        <pc:spChg chg="add del mod">
          <ac:chgData name="Dominik Buchegger" userId="7f2052fac20aabcc" providerId="LiveId" clId="{29FA8417-6B0D-46BE-9EC8-FD3689C05EF9}" dt="2023-04-21T08:02:09.582" v="493" actId="478"/>
          <ac:spMkLst>
            <pc:docMk/>
            <pc:sldMk cId="3527397213" sldId="325"/>
            <ac:spMk id="3" creationId="{F4DFDA4D-1802-8B39-A96C-2B54F2E01DA1}"/>
          </ac:spMkLst>
        </pc:spChg>
        <pc:spChg chg="add mod">
          <ac:chgData name="Dominik Buchegger" userId="7f2052fac20aabcc" providerId="LiveId" clId="{29FA8417-6B0D-46BE-9EC8-FD3689C05EF9}" dt="2023-04-21T08:33:03.308" v="2654" actId="20577"/>
          <ac:spMkLst>
            <pc:docMk/>
            <pc:sldMk cId="3527397213" sldId="325"/>
            <ac:spMk id="5" creationId="{9701D574-AAAE-12D0-DFF7-02B519C51CCB}"/>
          </ac:spMkLst>
        </pc:spChg>
        <pc:spChg chg="add del mod">
          <ac:chgData name="Dominik Buchegger" userId="7f2052fac20aabcc" providerId="LiveId" clId="{29FA8417-6B0D-46BE-9EC8-FD3689C05EF9}" dt="2023-04-21T08:03:23.582" v="510" actId="478"/>
          <ac:spMkLst>
            <pc:docMk/>
            <pc:sldMk cId="3527397213" sldId="325"/>
            <ac:spMk id="6" creationId="{DFB0ED73-9091-1854-ED22-0784FB63F811}"/>
          </ac:spMkLst>
        </pc:spChg>
        <pc:spChg chg="add del mod">
          <ac:chgData name="Dominik Buchegger" userId="7f2052fac20aabcc" providerId="LiveId" clId="{29FA8417-6B0D-46BE-9EC8-FD3689C05EF9}" dt="2023-04-21T08:05:08.336" v="674" actId="478"/>
          <ac:spMkLst>
            <pc:docMk/>
            <pc:sldMk cId="3527397213" sldId="325"/>
            <ac:spMk id="7" creationId="{DB9EAAB1-A75B-CF1D-54BD-EFC885E60D25}"/>
          </ac:spMkLst>
        </pc:spChg>
        <pc:spChg chg="add del mod">
          <ac:chgData name="Dominik Buchegger" userId="7f2052fac20aabcc" providerId="LiveId" clId="{29FA8417-6B0D-46BE-9EC8-FD3689C05EF9}" dt="2023-04-21T08:05:12.664" v="676" actId="478"/>
          <ac:spMkLst>
            <pc:docMk/>
            <pc:sldMk cId="3527397213" sldId="325"/>
            <ac:spMk id="8" creationId="{1D84FFFE-6848-15C8-1CB2-DD4F1FD4428F}"/>
          </ac:spMkLst>
        </pc:spChg>
        <pc:spChg chg="add mod">
          <ac:chgData name="Dominik Buchegger" userId="7f2052fac20aabcc" providerId="LiveId" clId="{29FA8417-6B0D-46BE-9EC8-FD3689C05EF9}" dt="2023-04-21T08:30:42.402" v="2491" actId="2711"/>
          <ac:spMkLst>
            <pc:docMk/>
            <pc:sldMk cId="3527397213" sldId="325"/>
            <ac:spMk id="12" creationId="{1FB0DCD7-EDBD-7232-8690-E8AF3D962513}"/>
          </ac:spMkLst>
        </pc:spChg>
        <pc:spChg chg="add mod">
          <ac:chgData name="Dominik Buchegger" userId="7f2052fac20aabcc" providerId="LiveId" clId="{29FA8417-6B0D-46BE-9EC8-FD3689C05EF9}" dt="2023-04-21T08:31:48.732" v="2606" actId="1076"/>
          <ac:spMkLst>
            <pc:docMk/>
            <pc:sldMk cId="3527397213" sldId="325"/>
            <ac:spMk id="13" creationId="{BC1282C8-83BF-C2A8-F19D-995F7AC4509B}"/>
          </ac:spMkLst>
        </pc:spChg>
        <pc:spChg chg="add mod">
          <ac:chgData name="Dominik Buchegger" userId="7f2052fac20aabcc" providerId="LiveId" clId="{29FA8417-6B0D-46BE-9EC8-FD3689C05EF9}" dt="2023-04-21T09:47:43.630" v="7813"/>
          <ac:spMkLst>
            <pc:docMk/>
            <pc:sldMk cId="3527397213" sldId="325"/>
            <ac:spMk id="14" creationId="{3785D824-CEE9-D235-5E65-609A00803CEA}"/>
          </ac:spMkLst>
        </pc:spChg>
        <pc:picChg chg="del mod modCrop">
          <ac:chgData name="Dominik Buchegger" userId="7f2052fac20aabcc" providerId="LiveId" clId="{29FA8417-6B0D-46BE-9EC8-FD3689C05EF9}" dt="2023-04-21T08:02:02.550" v="490" actId="478"/>
          <ac:picMkLst>
            <pc:docMk/>
            <pc:sldMk cId="3527397213" sldId="325"/>
            <ac:picMk id="9" creationId="{72E241E5-3DB2-4727-A8CE-7BA69D7D875F}"/>
          </ac:picMkLst>
        </pc:picChg>
        <pc:picChg chg="add mod modCrop">
          <ac:chgData name="Dominik Buchegger" userId="7f2052fac20aabcc" providerId="LiveId" clId="{29FA8417-6B0D-46BE-9EC8-FD3689C05EF9}" dt="2023-04-21T08:27:57.739" v="2446" actId="1076"/>
          <ac:picMkLst>
            <pc:docMk/>
            <pc:sldMk cId="3527397213" sldId="325"/>
            <ac:picMk id="10" creationId="{3C17DECF-3853-BE4D-E41C-BA3464FD239B}"/>
          </ac:picMkLst>
        </pc:picChg>
        <pc:picChg chg="add mod modCrop">
          <ac:chgData name="Dominik Buchegger" userId="7f2052fac20aabcc" providerId="LiveId" clId="{29FA8417-6B0D-46BE-9EC8-FD3689C05EF9}" dt="2023-04-21T08:29:03.246" v="2454" actId="14100"/>
          <ac:picMkLst>
            <pc:docMk/>
            <pc:sldMk cId="3527397213" sldId="325"/>
            <ac:picMk id="11" creationId="{7560A505-ABF1-26B4-7433-86E037442243}"/>
          </ac:picMkLst>
        </pc:picChg>
        <pc:picChg chg="add mod">
          <ac:chgData name="Dominik Buchegger" userId="7f2052fac20aabcc" providerId="LiveId" clId="{29FA8417-6B0D-46BE-9EC8-FD3689C05EF9}" dt="2023-04-21T08:26:23.882" v="2424" actId="1076"/>
          <ac:picMkLst>
            <pc:docMk/>
            <pc:sldMk cId="3527397213" sldId="325"/>
            <ac:picMk id="1025" creationId="{9F19078D-24FF-6C3F-2E6F-4F7620F3D48F}"/>
          </ac:picMkLst>
        </pc:picChg>
        <pc:picChg chg="add mod">
          <ac:chgData name="Dominik Buchegger" userId="7f2052fac20aabcc" providerId="LiveId" clId="{29FA8417-6B0D-46BE-9EC8-FD3689C05EF9}" dt="2023-04-21T08:26:26.649" v="2425" actId="1076"/>
          <ac:picMkLst>
            <pc:docMk/>
            <pc:sldMk cId="3527397213" sldId="325"/>
            <ac:picMk id="1026" creationId="{3C159BCA-C7E3-29AF-DC1E-EE6395689C41}"/>
          </ac:picMkLst>
        </pc:picChg>
        <pc:picChg chg="add del mod">
          <ac:chgData name="Dominik Buchegger" userId="7f2052fac20aabcc" providerId="LiveId" clId="{29FA8417-6B0D-46BE-9EC8-FD3689C05EF9}" dt="2023-04-21T08:02:52.719" v="501" actId="478"/>
          <ac:picMkLst>
            <pc:docMk/>
            <pc:sldMk cId="3527397213" sldId="325"/>
            <ac:picMk id="1027" creationId="{EC0102D2-9D37-0A32-555E-3EFB0D2194B6}"/>
          </ac:picMkLst>
        </pc:picChg>
      </pc:sldChg>
      <pc:sldChg chg="add">
        <pc:chgData name="Dominik Buchegger" userId="7f2052fac20aabcc" providerId="LiveId" clId="{29FA8417-6B0D-46BE-9EC8-FD3689C05EF9}" dt="2023-04-21T07:23:32.514" v="0"/>
        <pc:sldMkLst>
          <pc:docMk/>
          <pc:sldMk cId="1051580573" sldId="326"/>
        </pc:sldMkLst>
      </pc:sldChg>
      <pc:sldChg chg="addSp delSp modSp add mod">
        <pc:chgData name="Dominik Buchegger" userId="7f2052fac20aabcc" providerId="LiveId" clId="{29FA8417-6B0D-46BE-9EC8-FD3689C05EF9}" dt="2023-04-21T09:47:35.781" v="7810"/>
        <pc:sldMkLst>
          <pc:docMk/>
          <pc:sldMk cId="1206280606" sldId="327"/>
        </pc:sldMkLst>
        <pc:spChg chg="add mod">
          <ac:chgData name="Dominik Buchegger" userId="7f2052fac20aabcc" providerId="LiveId" clId="{29FA8417-6B0D-46BE-9EC8-FD3689C05EF9}" dt="2023-04-21T09:47:35.781" v="7810"/>
          <ac:spMkLst>
            <pc:docMk/>
            <pc:sldMk cId="1206280606" sldId="327"/>
            <ac:spMk id="2" creationId="{73414E8C-A913-F8C8-9FCB-64FF47150A93}"/>
          </ac:spMkLst>
        </pc:spChg>
        <pc:picChg chg="add del">
          <ac:chgData name="Dominik Buchegger" userId="7f2052fac20aabcc" providerId="LiveId" clId="{29FA8417-6B0D-46BE-9EC8-FD3689C05EF9}" dt="2023-04-21T09:38:40.251" v="7409" actId="478"/>
          <ac:picMkLst>
            <pc:docMk/>
            <pc:sldMk cId="1206280606" sldId="327"/>
            <ac:picMk id="6" creationId="{9ED234DA-095C-474D-B98C-12563124E36F}"/>
          </ac:picMkLst>
        </pc:picChg>
      </pc:sldChg>
      <pc:sldChg chg="addSp modSp add mod">
        <pc:chgData name="Dominik Buchegger" userId="7f2052fac20aabcc" providerId="LiveId" clId="{29FA8417-6B0D-46BE-9EC8-FD3689C05EF9}" dt="2023-04-21T09:47:47.681" v="7816"/>
        <pc:sldMkLst>
          <pc:docMk/>
          <pc:sldMk cId="465461136" sldId="329"/>
        </pc:sldMkLst>
        <pc:spChg chg="add mod">
          <ac:chgData name="Dominik Buchegger" userId="7f2052fac20aabcc" providerId="LiveId" clId="{29FA8417-6B0D-46BE-9EC8-FD3689C05EF9}" dt="2023-04-21T09:47:47.681" v="7816"/>
          <ac:spMkLst>
            <pc:docMk/>
            <pc:sldMk cId="465461136" sldId="329"/>
            <ac:spMk id="3" creationId="{DB462B24-9ABF-AD57-E53B-A1F0D9CCD6FE}"/>
          </ac:spMkLst>
        </pc:spChg>
        <pc:spChg chg="mod">
          <ac:chgData name="Dominik Buchegger" userId="7f2052fac20aabcc" providerId="LiveId" clId="{29FA8417-6B0D-46BE-9EC8-FD3689C05EF9}" dt="2023-04-21T07:52:06.302" v="294" actId="207"/>
          <ac:spMkLst>
            <pc:docMk/>
            <pc:sldMk cId="465461136" sldId="329"/>
            <ac:spMk id="5" creationId="{31F0334B-DF5E-4A41-B638-F9A92ACE5793}"/>
          </ac:spMkLst>
        </pc:spChg>
      </pc:sldChg>
      <pc:sldChg chg="addSp delSp modSp add mod">
        <pc:chgData name="Dominik Buchegger" userId="7f2052fac20aabcc" providerId="LiveId" clId="{29FA8417-6B0D-46BE-9EC8-FD3689C05EF9}" dt="2023-04-21T09:47:50.754" v="7818"/>
        <pc:sldMkLst>
          <pc:docMk/>
          <pc:sldMk cId="4261794187" sldId="330"/>
        </pc:sldMkLst>
        <pc:spChg chg="add mod">
          <ac:chgData name="Dominik Buchegger" userId="7f2052fac20aabcc" providerId="LiveId" clId="{29FA8417-6B0D-46BE-9EC8-FD3689C05EF9}" dt="2023-04-21T07:52:16.373" v="295" actId="207"/>
          <ac:spMkLst>
            <pc:docMk/>
            <pc:sldMk cId="4261794187" sldId="330"/>
            <ac:spMk id="3" creationId="{21EB6FD0-1C93-1B03-9EBF-9C41EBDEB0BF}"/>
          </ac:spMkLst>
        </pc:spChg>
        <pc:spChg chg="add mod">
          <ac:chgData name="Dominik Buchegger" userId="7f2052fac20aabcc" providerId="LiveId" clId="{29FA8417-6B0D-46BE-9EC8-FD3689C05EF9}" dt="2023-04-21T09:47:50.754" v="7818"/>
          <ac:spMkLst>
            <pc:docMk/>
            <pc:sldMk cId="4261794187" sldId="330"/>
            <ac:spMk id="4" creationId="{833D9EBA-B065-FA0C-A8E1-B6DF3E9D236D}"/>
          </ac:spMkLst>
        </pc:spChg>
        <pc:spChg chg="del mod">
          <ac:chgData name="Dominik Buchegger" userId="7f2052fac20aabcc" providerId="LiveId" clId="{29FA8417-6B0D-46BE-9EC8-FD3689C05EF9}" dt="2023-04-21T07:51:42.172" v="290" actId="21"/>
          <ac:spMkLst>
            <pc:docMk/>
            <pc:sldMk cId="4261794187" sldId="330"/>
            <ac:spMk id="11" creationId="{634FD6B8-905E-47D9-8AF3-F90350B87771}"/>
          </ac:spMkLst>
        </pc:spChg>
      </pc:sldChg>
      <pc:sldChg chg="addSp delSp modSp add mod">
        <pc:chgData name="Dominik Buchegger" userId="7f2052fac20aabcc" providerId="LiveId" clId="{29FA8417-6B0D-46BE-9EC8-FD3689C05EF9}" dt="2023-04-21T09:47:56.763" v="7822"/>
        <pc:sldMkLst>
          <pc:docMk/>
          <pc:sldMk cId="1455359729" sldId="331"/>
        </pc:sldMkLst>
        <pc:spChg chg="add mod">
          <ac:chgData name="Dominik Buchegger" userId="7f2052fac20aabcc" providerId="LiveId" clId="{29FA8417-6B0D-46BE-9EC8-FD3689C05EF9}" dt="2023-04-21T09:47:17.782" v="7806"/>
          <ac:spMkLst>
            <pc:docMk/>
            <pc:sldMk cId="1455359729" sldId="331"/>
            <ac:spMk id="6" creationId="{9785D9E9-0694-9D69-33A4-602F906D0DAD}"/>
          </ac:spMkLst>
        </pc:spChg>
        <pc:spChg chg="add del mod">
          <ac:chgData name="Dominik Buchegger" userId="7f2052fac20aabcc" providerId="LiveId" clId="{29FA8417-6B0D-46BE-9EC8-FD3689C05EF9}" dt="2023-04-21T09:47:56.763" v="7822"/>
          <ac:spMkLst>
            <pc:docMk/>
            <pc:sldMk cId="1455359729" sldId="331"/>
            <ac:spMk id="7" creationId="{C07D4F6D-DB8E-3FF4-7E68-47131F1B6A6C}"/>
          </ac:spMkLst>
        </pc:spChg>
        <pc:spChg chg="del">
          <ac:chgData name="Dominik Buchegger" userId="7f2052fac20aabcc" providerId="LiveId" clId="{29FA8417-6B0D-46BE-9EC8-FD3689C05EF9}" dt="2023-04-21T07:53:11.035" v="303" actId="478"/>
          <ac:spMkLst>
            <pc:docMk/>
            <pc:sldMk cId="1455359729" sldId="331"/>
            <ac:spMk id="9" creationId="{FA9129D9-F10E-464E-8699-44D93E723EDB}"/>
          </ac:spMkLst>
        </pc:spChg>
        <pc:picChg chg="add mod">
          <ac:chgData name="Dominik Buchegger" userId="7f2052fac20aabcc" providerId="LiveId" clId="{29FA8417-6B0D-46BE-9EC8-FD3689C05EF9}" dt="2023-04-21T07:53:30.298" v="307" actId="1076"/>
          <ac:picMkLst>
            <pc:docMk/>
            <pc:sldMk cId="1455359729" sldId="331"/>
            <ac:picMk id="3" creationId="{AC681080-5991-4715-AD98-6142F9F5AE54}"/>
          </ac:picMkLst>
        </pc:picChg>
        <pc:picChg chg="del">
          <ac:chgData name="Dominik Buchegger" userId="7f2052fac20aabcc" providerId="LiveId" clId="{29FA8417-6B0D-46BE-9EC8-FD3689C05EF9}" dt="2023-04-21T07:53:08.753" v="302" actId="478"/>
          <ac:picMkLst>
            <pc:docMk/>
            <pc:sldMk cId="1455359729" sldId="331"/>
            <ac:picMk id="4" creationId="{3623C986-4E16-4480-8A86-643C3D4C5168}"/>
          </ac:picMkLst>
        </pc:picChg>
        <pc:picChg chg="add mod">
          <ac:chgData name="Dominik Buchegger" userId="7f2052fac20aabcc" providerId="LiveId" clId="{29FA8417-6B0D-46BE-9EC8-FD3689C05EF9}" dt="2023-04-21T07:53:49.992" v="312" actId="1076"/>
          <ac:picMkLst>
            <pc:docMk/>
            <pc:sldMk cId="1455359729" sldId="331"/>
            <ac:picMk id="5" creationId="{8E4599B4-1D55-F869-D99B-D733BA880740}"/>
          </ac:picMkLst>
        </pc:picChg>
      </pc:sldChg>
      <pc:sldChg chg="addSp modSp add mod">
        <pc:chgData name="Dominik Buchegger" userId="7f2052fac20aabcc" providerId="LiveId" clId="{29FA8417-6B0D-46BE-9EC8-FD3689C05EF9}" dt="2023-04-21T09:47:26.162" v="7808" actId="732"/>
        <pc:sldMkLst>
          <pc:docMk/>
          <pc:sldMk cId="2318293236" sldId="332"/>
        </pc:sldMkLst>
        <pc:spChg chg="add mod">
          <ac:chgData name="Dominik Buchegger" userId="7f2052fac20aabcc" providerId="LiveId" clId="{29FA8417-6B0D-46BE-9EC8-FD3689C05EF9}" dt="2023-04-21T09:47:15.146" v="7805"/>
          <ac:spMkLst>
            <pc:docMk/>
            <pc:sldMk cId="2318293236" sldId="332"/>
            <ac:spMk id="3" creationId="{760AB689-4840-6E94-5084-191F7C8499CC}"/>
          </ac:spMkLst>
        </pc:spChg>
        <pc:picChg chg="mod modCrop">
          <ac:chgData name="Dominik Buchegger" userId="7f2052fac20aabcc" providerId="LiveId" clId="{29FA8417-6B0D-46BE-9EC8-FD3689C05EF9}" dt="2023-04-21T09:47:26.162" v="7808" actId="732"/>
          <ac:picMkLst>
            <pc:docMk/>
            <pc:sldMk cId="2318293236" sldId="332"/>
            <ac:picMk id="5" creationId="{2D74DDD8-D8B7-464D-9C68-04E9487F3A7A}"/>
          </ac:picMkLst>
        </pc:picChg>
      </pc:sldChg>
      <pc:sldChg chg="addSp modSp add del mod ord">
        <pc:chgData name="Dominik Buchegger" userId="7f2052fac20aabcc" providerId="LiveId" clId="{29FA8417-6B0D-46BE-9EC8-FD3689C05EF9}" dt="2023-04-21T09:48:53.663" v="7848" actId="47"/>
        <pc:sldMkLst>
          <pc:docMk/>
          <pc:sldMk cId="1278310352" sldId="333"/>
        </pc:sldMkLst>
        <pc:spChg chg="add mod">
          <ac:chgData name="Dominik Buchegger" userId="7f2052fac20aabcc" providerId="LiveId" clId="{29FA8417-6B0D-46BE-9EC8-FD3689C05EF9}" dt="2023-04-21T09:47:12.651" v="7804"/>
          <ac:spMkLst>
            <pc:docMk/>
            <pc:sldMk cId="1278310352" sldId="333"/>
            <ac:spMk id="14" creationId="{56E6EF09-562E-B97A-863B-23C0607CB821}"/>
          </ac:spMkLst>
        </pc:spChg>
        <pc:picChg chg="mod">
          <ac:chgData name="Dominik Buchegger" userId="7f2052fac20aabcc" providerId="LiveId" clId="{29FA8417-6B0D-46BE-9EC8-FD3689C05EF9}" dt="2023-04-21T09:48:49.219" v="7846" actId="1076"/>
          <ac:picMkLst>
            <pc:docMk/>
            <pc:sldMk cId="1278310352" sldId="333"/>
            <ac:picMk id="4" creationId="{15AED22A-5AE6-4EE8-8C97-CF8952143B72}"/>
          </ac:picMkLst>
        </pc:picChg>
      </pc:sldChg>
      <pc:sldChg chg="add del ord">
        <pc:chgData name="Dominik Buchegger" userId="7f2052fac20aabcc" providerId="LiveId" clId="{29FA8417-6B0D-46BE-9EC8-FD3689C05EF9}" dt="2023-04-21T09:50:37.884" v="7912" actId="47"/>
        <pc:sldMkLst>
          <pc:docMk/>
          <pc:sldMk cId="3343413101" sldId="338"/>
        </pc:sldMkLst>
      </pc:sldChg>
      <pc:sldChg chg="addSp modSp add mod ord">
        <pc:chgData name="Dominik Buchegger" userId="7f2052fac20aabcc" providerId="LiveId" clId="{29FA8417-6B0D-46BE-9EC8-FD3689C05EF9}" dt="2023-04-21T09:52:40.762" v="7968"/>
        <pc:sldMkLst>
          <pc:docMk/>
          <pc:sldMk cId="448161714" sldId="340"/>
        </pc:sldMkLst>
        <pc:spChg chg="add mod">
          <ac:chgData name="Dominik Buchegger" userId="7f2052fac20aabcc" providerId="LiveId" clId="{29FA8417-6B0D-46BE-9EC8-FD3689C05EF9}" dt="2023-04-21T09:52:40.762" v="7968"/>
          <ac:spMkLst>
            <pc:docMk/>
            <pc:sldMk cId="448161714" sldId="340"/>
            <ac:spMk id="4" creationId="{5477AC15-BC8E-BC2F-47DE-46563C722E91}"/>
          </ac:spMkLst>
        </pc:spChg>
        <pc:spChg chg="mod">
          <ac:chgData name="Dominik Buchegger" userId="7f2052fac20aabcc" providerId="LiveId" clId="{29FA8417-6B0D-46BE-9EC8-FD3689C05EF9}" dt="2023-04-21T09:52:09.276" v="7954" actId="1076"/>
          <ac:spMkLst>
            <pc:docMk/>
            <pc:sldMk cId="448161714" sldId="340"/>
            <ac:spMk id="12" creationId="{2ED57D7C-1687-41C3-B5F6-5FB3245942BB}"/>
          </ac:spMkLst>
        </pc:spChg>
        <pc:picChg chg="mod">
          <ac:chgData name="Dominik Buchegger" userId="7f2052fac20aabcc" providerId="LiveId" clId="{29FA8417-6B0D-46BE-9EC8-FD3689C05EF9}" dt="2023-04-21T09:51:58.522" v="7948" actId="1076"/>
          <ac:picMkLst>
            <pc:docMk/>
            <pc:sldMk cId="448161714" sldId="340"/>
            <ac:picMk id="5" creationId="{31E0E11F-35A2-48B2-A93E-52904075F00E}"/>
          </ac:picMkLst>
        </pc:picChg>
        <pc:picChg chg="mod">
          <ac:chgData name="Dominik Buchegger" userId="7f2052fac20aabcc" providerId="LiveId" clId="{29FA8417-6B0D-46BE-9EC8-FD3689C05EF9}" dt="2023-04-21T09:52:02.321" v="7949" actId="1076"/>
          <ac:picMkLst>
            <pc:docMk/>
            <pc:sldMk cId="448161714" sldId="340"/>
            <ac:picMk id="7" creationId="{D03742AE-C702-42A9-B6FE-D077EF8ED941}"/>
          </ac:picMkLst>
        </pc:picChg>
        <pc:picChg chg="mod">
          <ac:chgData name="Dominik Buchegger" userId="7f2052fac20aabcc" providerId="LiveId" clId="{29FA8417-6B0D-46BE-9EC8-FD3689C05EF9}" dt="2023-04-21T09:52:02.321" v="7949" actId="1076"/>
          <ac:picMkLst>
            <pc:docMk/>
            <pc:sldMk cId="448161714" sldId="340"/>
            <ac:picMk id="9" creationId="{DBECE5CC-5681-47F6-AD9D-EA5391772DDC}"/>
          </ac:picMkLst>
        </pc:picChg>
        <pc:picChg chg="mod">
          <ac:chgData name="Dominik Buchegger" userId="7f2052fac20aabcc" providerId="LiveId" clId="{29FA8417-6B0D-46BE-9EC8-FD3689C05EF9}" dt="2023-04-21T09:52:02.321" v="7949" actId="1076"/>
          <ac:picMkLst>
            <pc:docMk/>
            <pc:sldMk cId="448161714" sldId="340"/>
            <ac:picMk id="11" creationId="{C23C5D5D-66BB-4E53-9D36-46C8B7044A44}"/>
          </ac:picMkLst>
        </pc:picChg>
      </pc:sldChg>
      <pc:sldChg chg="add del ord">
        <pc:chgData name="Dominik Buchegger" userId="7f2052fac20aabcc" providerId="LiveId" clId="{29FA8417-6B0D-46BE-9EC8-FD3689C05EF9}" dt="2023-04-21T09:51:03.357" v="7935" actId="47"/>
        <pc:sldMkLst>
          <pc:docMk/>
          <pc:sldMk cId="271014277" sldId="341"/>
        </pc:sldMkLst>
      </pc:sldChg>
      <pc:sldChg chg="addSp modSp add mod ord">
        <pc:chgData name="Dominik Buchegger" userId="7f2052fac20aabcc" providerId="LiveId" clId="{29FA8417-6B0D-46BE-9EC8-FD3689C05EF9}" dt="2023-04-21T09:52:42.221" v="7969"/>
        <pc:sldMkLst>
          <pc:docMk/>
          <pc:sldMk cId="747585086" sldId="342"/>
        </pc:sldMkLst>
        <pc:spChg chg="mod">
          <ac:chgData name="Dominik Buchegger" userId="7f2052fac20aabcc" providerId="LiveId" clId="{29FA8417-6B0D-46BE-9EC8-FD3689C05EF9}" dt="2023-04-21T09:52:18.587" v="7959" actId="20577"/>
          <ac:spMkLst>
            <pc:docMk/>
            <pc:sldMk cId="747585086" sldId="342"/>
            <ac:spMk id="3" creationId="{9194D159-88EF-4132-837E-834B588AF6EF}"/>
          </ac:spMkLst>
        </pc:spChg>
        <pc:spChg chg="mod">
          <ac:chgData name="Dominik Buchegger" userId="7f2052fac20aabcc" providerId="LiveId" clId="{29FA8417-6B0D-46BE-9EC8-FD3689C05EF9}" dt="2023-04-21T09:52:35.175" v="7967" actId="1076"/>
          <ac:spMkLst>
            <pc:docMk/>
            <pc:sldMk cId="747585086" sldId="342"/>
            <ac:spMk id="4" creationId="{DADD7D71-86D3-9A8B-6CFC-9CFB39862A50}"/>
          </ac:spMkLst>
        </pc:spChg>
        <pc:spChg chg="add mod">
          <ac:chgData name="Dominik Buchegger" userId="7f2052fac20aabcc" providerId="LiveId" clId="{29FA8417-6B0D-46BE-9EC8-FD3689C05EF9}" dt="2023-04-21T09:52:42.221" v="7969"/>
          <ac:spMkLst>
            <pc:docMk/>
            <pc:sldMk cId="747585086" sldId="342"/>
            <ac:spMk id="5" creationId="{4A433A49-76A8-69B5-CB76-7FD482E98CFD}"/>
          </ac:spMkLst>
        </pc:spChg>
        <pc:picChg chg="mod">
          <ac:chgData name="Dominik Buchegger" userId="7f2052fac20aabcc" providerId="LiveId" clId="{29FA8417-6B0D-46BE-9EC8-FD3689C05EF9}" dt="2023-04-21T09:52:16.781" v="7955" actId="1076"/>
          <ac:picMkLst>
            <pc:docMk/>
            <pc:sldMk cId="747585086" sldId="342"/>
            <ac:picMk id="10" creationId="{2D720295-F73C-4FDD-929A-B53644F88499}"/>
          </ac:picMkLst>
        </pc:picChg>
        <pc:picChg chg="mod">
          <ac:chgData name="Dominik Buchegger" userId="7f2052fac20aabcc" providerId="LiveId" clId="{29FA8417-6B0D-46BE-9EC8-FD3689C05EF9}" dt="2023-04-21T09:52:16.781" v="7955" actId="1076"/>
          <ac:picMkLst>
            <pc:docMk/>
            <pc:sldMk cId="747585086" sldId="342"/>
            <ac:picMk id="13" creationId="{F165F06C-7AF9-4A11-BD3C-75DB22EBB9AA}"/>
          </ac:picMkLst>
        </pc:picChg>
        <pc:picChg chg="mod">
          <ac:chgData name="Dominik Buchegger" userId="7f2052fac20aabcc" providerId="LiveId" clId="{29FA8417-6B0D-46BE-9EC8-FD3689C05EF9}" dt="2023-04-21T09:52:16.781" v="7955" actId="1076"/>
          <ac:picMkLst>
            <pc:docMk/>
            <pc:sldMk cId="747585086" sldId="342"/>
            <ac:picMk id="15" creationId="{A3254FEC-30EF-4741-8111-499A365CCB70}"/>
          </ac:picMkLst>
        </pc:picChg>
        <pc:picChg chg="mod">
          <ac:chgData name="Dominik Buchegger" userId="7f2052fac20aabcc" providerId="LiveId" clId="{29FA8417-6B0D-46BE-9EC8-FD3689C05EF9}" dt="2023-04-21T09:52:16.781" v="7955" actId="1076"/>
          <ac:picMkLst>
            <pc:docMk/>
            <pc:sldMk cId="747585086" sldId="342"/>
            <ac:picMk id="17" creationId="{9CF4E425-753D-4201-B36E-B6478CC068A0}"/>
          </ac:picMkLst>
        </pc:picChg>
        <pc:picChg chg="mod">
          <ac:chgData name="Dominik Buchegger" userId="7f2052fac20aabcc" providerId="LiveId" clId="{29FA8417-6B0D-46BE-9EC8-FD3689C05EF9}" dt="2023-04-21T09:52:24.033" v="7960" actId="1076"/>
          <ac:picMkLst>
            <pc:docMk/>
            <pc:sldMk cId="747585086" sldId="342"/>
            <ac:picMk id="19" creationId="{D1870776-4FC5-4B45-B5AF-C63849275818}"/>
          </ac:picMkLst>
        </pc:picChg>
      </pc:sldChg>
      <pc:sldChg chg="add del">
        <pc:chgData name="Dominik Buchegger" userId="7f2052fac20aabcc" providerId="LiveId" clId="{29FA8417-6B0D-46BE-9EC8-FD3689C05EF9}" dt="2023-04-21T07:54:59.008" v="388" actId="47"/>
        <pc:sldMkLst>
          <pc:docMk/>
          <pc:sldMk cId="3478466814" sldId="343"/>
        </pc:sldMkLst>
      </pc:sldChg>
      <pc:sldChg chg="modSp mod">
        <pc:chgData name="Dominik Buchegger" userId="7f2052fac20aabcc" providerId="LiveId" clId="{29FA8417-6B0D-46BE-9EC8-FD3689C05EF9}" dt="2023-04-23T09:48:36.890" v="7972" actId="27636"/>
        <pc:sldMkLst>
          <pc:docMk/>
          <pc:sldMk cId="2946332310" sldId="1460"/>
        </pc:sldMkLst>
        <pc:spChg chg="mod">
          <ac:chgData name="Dominik Buchegger" userId="7f2052fac20aabcc" providerId="LiveId" clId="{29FA8417-6B0D-46BE-9EC8-FD3689C05EF9}" dt="2023-04-23T09:48:36.890" v="7972" actId="27636"/>
          <ac:spMkLst>
            <pc:docMk/>
            <pc:sldMk cId="2946332310" sldId="1460"/>
            <ac:spMk id="2" creationId="{38C104DD-55A5-D5D7-68B1-A81097757DA7}"/>
          </ac:spMkLst>
        </pc:spChg>
        <pc:spChg chg="mod">
          <ac:chgData name="Dominik Buchegger" userId="7f2052fac20aabcc" providerId="LiveId" clId="{29FA8417-6B0D-46BE-9EC8-FD3689C05EF9}" dt="2023-04-23T09:48:25.192" v="7970" actId="13926"/>
          <ac:spMkLst>
            <pc:docMk/>
            <pc:sldMk cId="2946332310" sldId="1460"/>
            <ac:spMk id="4" creationId="{A7DF72C1-C663-3FA3-FACB-98369A161D17}"/>
          </ac:spMkLst>
        </pc:spChg>
      </pc:sldChg>
      <pc:sldChg chg="modSp mod">
        <pc:chgData name="Dominik Buchegger" userId="7f2052fac20aabcc" providerId="LiveId" clId="{29FA8417-6B0D-46BE-9EC8-FD3689C05EF9}" dt="2023-04-21T07:27:47.371" v="30" actId="20577"/>
        <pc:sldMkLst>
          <pc:docMk/>
          <pc:sldMk cId="860905568" sldId="1461"/>
        </pc:sldMkLst>
        <pc:spChg chg="mod">
          <ac:chgData name="Dominik Buchegger" userId="7f2052fac20aabcc" providerId="LiveId" clId="{29FA8417-6B0D-46BE-9EC8-FD3689C05EF9}" dt="2023-04-21T07:27:47.371" v="30" actId="20577"/>
          <ac:spMkLst>
            <pc:docMk/>
            <pc:sldMk cId="860905568" sldId="1461"/>
            <ac:spMk id="2" creationId="{C36256A2-67B2-CA01-7417-6A9C17C6B307}"/>
          </ac:spMkLst>
        </pc:spChg>
      </pc:sldChg>
      <pc:sldChg chg="modSp mod">
        <pc:chgData name="Dominik Buchegger" userId="7f2052fac20aabcc" providerId="LiveId" clId="{29FA8417-6B0D-46BE-9EC8-FD3689C05EF9}" dt="2023-04-21T07:33:25.657" v="60" actId="20577"/>
        <pc:sldMkLst>
          <pc:docMk/>
          <pc:sldMk cId="1700766504" sldId="1464"/>
        </pc:sldMkLst>
        <pc:spChg chg="mod">
          <ac:chgData name="Dominik Buchegger" userId="7f2052fac20aabcc" providerId="LiveId" clId="{29FA8417-6B0D-46BE-9EC8-FD3689C05EF9}" dt="2023-04-21T07:33:25.657" v="60" actId="20577"/>
          <ac:spMkLst>
            <pc:docMk/>
            <pc:sldMk cId="1700766504" sldId="1464"/>
            <ac:spMk id="2" creationId="{C36256A2-67B2-CA01-7417-6A9C17C6B307}"/>
          </ac:spMkLst>
        </pc:spChg>
      </pc:sldChg>
      <pc:sldChg chg="modSp mod">
        <pc:chgData name="Dominik Buchegger" userId="7f2052fac20aabcc" providerId="LiveId" clId="{29FA8417-6B0D-46BE-9EC8-FD3689C05EF9}" dt="2023-04-21T07:30:20.560" v="54" actId="20577"/>
        <pc:sldMkLst>
          <pc:docMk/>
          <pc:sldMk cId="455783933" sldId="1496"/>
        </pc:sldMkLst>
        <pc:spChg chg="mod">
          <ac:chgData name="Dominik Buchegger" userId="7f2052fac20aabcc" providerId="LiveId" clId="{29FA8417-6B0D-46BE-9EC8-FD3689C05EF9}" dt="2023-04-21T07:30:20.560" v="54" actId="20577"/>
          <ac:spMkLst>
            <pc:docMk/>
            <pc:sldMk cId="455783933" sldId="1496"/>
            <ac:spMk id="2" creationId="{C36256A2-67B2-CA01-7417-6A9C17C6B307}"/>
          </ac:spMkLst>
        </pc:spChg>
      </pc:sldChg>
      <pc:sldChg chg="modSp mod">
        <pc:chgData name="Dominik Buchegger" userId="7f2052fac20aabcc" providerId="LiveId" clId="{29FA8417-6B0D-46BE-9EC8-FD3689C05EF9}" dt="2023-04-21T07:33:28.935" v="62" actId="20577"/>
        <pc:sldMkLst>
          <pc:docMk/>
          <pc:sldMk cId="3982551352" sldId="1526"/>
        </pc:sldMkLst>
        <pc:spChg chg="mod">
          <ac:chgData name="Dominik Buchegger" userId="7f2052fac20aabcc" providerId="LiveId" clId="{29FA8417-6B0D-46BE-9EC8-FD3689C05EF9}" dt="2023-04-21T07:33:28.935" v="62" actId="20577"/>
          <ac:spMkLst>
            <pc:docMk/>
            <pc:sldMk cId="3982551352" sldId="1526"/>
            <ac:spMk id="2" creationId="{C36256A2-67B2-CA01-7417-6A9C17C6B307}"/>
          </ac:spMkLst>
        </pc:spChg>
      </pc:sldChg>
      <pc:sldChg chg="del">
        <pc:chgData name="Dominik Buchegger" userId="7f2052fac20aabcc" providerId="LiveId" clId="{29FA8417-6B0D-46BE-9EC8-FD3689C05EF9}" dt="2023-04-21T07:28:21.709" v="32" actId="47"/>
        <pc:sldMkLst>
          <pc:docMk/>
          <pc:sldMk cId="1987410233" sldId="1534"/>
        </pc:sldMkLst>
      </pc:sldChg>
      <pc:sldChg chg="del">
        <pc:chgData name="Dominik Buchegger" userId="7f2052fac20aabcc" providerId="LiveId" clId="{29FA8417-6B0D-46BE-9EC8-FD3689C05EF9}" dt="2023-04-21T07:28:22.645" v="33" actId="47"/>
        <pc:sldMkLst>
          <pc:docMk/>
          <pc:sldMk cId="1281915614" sldId="1535"/>
        </pc:sldMkLst>
      </pc:sldChg>
      <pc:sldChg chg="del">
        <pc:chgData name="Dominik Buchegger" userId="7f2052fac20aabcc" providerId="LiveId" clId="{29FA8417-6B0D-46BE-9EC8-FD3689C05EF9}" dt="2023-04-21T07:28:23.222" v="34" actId="47"/>
        <pc:sldMkLst>
          <pc:docMk/>
          <pc:sldMk cId="1961197189" sldId="1536"/>
        </pc:sldMkLst>
      </pc:sldChg>
      <pc:sldChg chg="del">
        <pc:chgData name="Dominik Buchegger" userId="7f2052fac20aabcc" providerId="LiveId" clId="{29FA8417-6B0D-46BE-9EC8-FD3689C05EF9}" dt="2023-04-21T07:33:47.155" v="65" actId="47"/>
        <pc:sldMkLst>
          <pc:docMk/>
          <pc:sldMk cId="3597719166" sldId="1538"/>
        </pc:sldMkLst>
      </pc:sldChg>
      <pc:sldChg chg="del">
        <pc:chgData name="Dominik Buchegger" userId="7f2052fac20aabcc" providerId="LiveId" clId="{29FA8417-6B0D-46BE-9EC8-FD3689C05EF9}" dt="2023-04-21T07:33:47.155" v="65" actId="47"/>
        <pc:sldMkLst>
          <pc:docMk/>
          <pc:sldMk cId="3806684549" sldId="1539"/>
        </pc:sldMkLst>
      </pc:sldChg>
      <pc:sldChg chg="del">
        <pc:chgData name="Dominik Buchegger" userId="7f2052fac20aabcc" providerId="LiveId" clId="{29FA8417-6B0D-46BE-9EC8-FD3689C05EF9}" dt="2023-04-21T07:33:34.526" v="63" actId="47"/>
        <pc:sldMkLst>
          <pc:docMk/>
          <pc:sldMk cId="2369170133" sldId="1540"/>
        </pc:sldMkLst>
      </pc:sldChg>
      <pc:sldChg chg="del">
        <pc:chgData name="Dominik Buchegger" userId="7f2052fac20aabcc" providerId="LiveId" clId="{29FA8417-6B0D-46BE-9EC8-FD3689C05EF9}" dt="2023-04-21T07:33:34.526" v="63" actId="47"/>
        <pc:sldMkLst>
          <pc:docMk/>
          <pc:sldMk cId="1621850967" sldId="1541"/>
        </pc:sldMkLst>
      </pc:sldChg>
      <pc:sldChg chg="del">
        <pc:chgData name="Dominik Buchegger" userId="7f2052fac20aabcc" providerId="LiveId" clId="{29FA8417-6B0D-46BE-9EC8-FD3689C05EF9}" dt="2023-04-21T07:33:34.526" v="63" actId="47"/>
        <pc:sldMkLst>
          <pc:docMk/>
          <pc:sldMk cId="2438703611" sldId="1542"/>
        </pc:sldMkLst>
      </pc:sldChg>
      <pc:sldChg chg="del">
        <pc:chgData name="Dominik Buchegger" userId="7f2052fac20aabcc" providerId="LiveId" clId="{29FA8417-6B0D-46BE-9EC8-FD3689C05EF9}" dt="2023-04-21T07:33:34.526" v="63" actId="47"/>
        <pc:sldMkLst>
          <pc:docMk/>
          <pc:sldMk cId="419329577" sldId="1543"/>
        </pc:sldMkLst>
      </pc:sldChg>
      <pc:sldChg chg="del">
        <pc:chgData name="Dominik Buchegger" userId="7f2052fac20aabcc" providerId="LiveId" clId="{29FA8417-6B0D-46BE-9EC8-FD3689C05EF9}" dt="2023-04-21T07:33:34.526" v="63" actId="47"/>
        <pc:sldMkLst>
          <pc:docMk/>
          <pc:sldMk cId="4222879851" sldId="1544"/>
        </pc:sldMkLst>
      </pc:sldChg>
      <pc:sldChg chg="del">
        <pc:chgData name="Dominik Buchegger" userId="7f2052fac20aabcc" providerId="LiveId" clId="{29FA8417-6B0D-46BE-9EC8-FD3689C05EF9}" dt="2023-04-21T07:33:34.526" v="63" actId="47"/>
        <pc:sldMkLst>
          <pc:docMk/>
          <pc:sldMk cId="2768367976" sldId="1545"/>
        </pc:sldMkLst>
      </pc:sldChg>
      <pc:sldChg chg="del">
        <pc:chgData name="Dominik Buchegger" userId="7f2052fac20aabcc" providerId="LiveId" clId="{29FA8417-6B0D-46BE-9EC8-FD3689C05EF9}" dt="2023-04-21T07:33:34.526" v="63" actId="47"/>
        <pc:sldMkLst>
          <pc:docMk/>
          <pc:sldMk cId="1740970090" sldId="1546"/>
        </pc:sldMkLst>
      </pc:sldChg>
      <pc:sldChg chg="del">
        <pc:chgData name="Dominik Buchegger" userId="7f2052fac20aabcc" providerId="LiveId" clId="{29FA8417-6B0D-46BE-9EC8-FD3689C05EF9}" dt="2023-04-21T07:33:47.155" v="65" actId="47"/>
        <pc:sldMkLst>
          <pc:docMk/>
          <pc:sldMk cId="1736325031" sldId="1547"/>
        </pc:sldMkLst>
      </pc:sldChg>
      <pc:sldChg chg="del">
        <pc:chgData name="Dominik Buchegger" userId="7f2052fac20aabcc" providerId="LiveId" clId="{29FA8417-6B0D-46BE-9EC8-FD3689C05EF9}" dt="2023-04-21T07:33:47.155" v="65" actId="47"/>
        <pc:sldMkLst>
          <pc:docMk/>
          <pc:sldMk cId="43038557" sldId="1548"/>
        </pc:sldMkLst>
      </pc:sldChg>
      <pc:sldChg chg="del">
        <pc:chgData name="Dominik Buchegger" userId="7f2052fac20aabcc" providerId="LiveId" clId="{29FA8417-6B0D-46BE-9EC8-FD3689C05EF9}" dt="2023-04-21T07:33:34.526" v="63" actId="47"/>
        <pc:sldMkLst>
          <pc:docMk/>
          <pc:sldMk cId="2745610101" sldId="1549"/>
        </pc:sldMkLst>
      </pc:sldChg>
      <pc:sldChg chg="del">
        <pc:chgData name="Dominik Buchegger" userId="7f2052fac20aabcc" providerId="LiveId" clId="{29FA8417-6B0D-46BE-9EC8-FD3689C05EF9}" dt="2023-04-21T07:33:34.526" v="63" actId="47"/>
        <pc:sldMkLst>
          <pc:docMk/>
          <pc:sldMk cId="3563998885" sldId="1550"/>
        </pc:sldMkLst>
      </pc:sldChg>
      <pc:sldChg chg="del">
        <pc:chgData name="Dominik Buchegger" userId="7f2052fac20aabcc" providerId="LiveId" clId="{29FA8417-6B0D-46BE-9EC8-FD3689C05EF9}" dt="2023-04-21T07:33:47.155" v="65" actId="47"/>
        <pc:sldMkLst>
          <pc:docMk/>
          <pc:sldMk cId="3555160724" sldId="1551"/>
        </pc:sldMkLst>
      </pc:sldChg>
      <pc:sldChg chg="del">
        <pc:chgData name="Dominik Buchegger" userId="7f2052fac20aabcc" providerId="LiveId" clId="{29FA8417-6B0D-46BE-9EC8-FD3689C05EF9}" dt="2023-04-21T07:33:38.944" v="64" actId="47"/>
        <pc:sldMkLst>
          <pc:docMk/>
          <pc:sldMk cId="3200463830" sldId="1554"/>
        </pc:sldMkLst>
      </pc:sldChg>
      <pc:sldChg chg="del">
        <pc:chgData name="Dominik Buchegger" userId="7f2052fac20aabcc" providerId="LiveId" clId="{29FA8417-6B0D-46BE-9EC8-FD3689C05EF9}" dt="2023-04-21T07:33:38.944" v="64" actId="47"/>
        <pc:sldMkLst>
          <pc:docMk/>
          <pc:sldMk cId="1010709420" sldId="1556"/>
        </pc:sldMkLst>
      </pc:sldChg>
      <pc:sldChg chg="addSp modSp mod ord">
        <pc:chgData name="Dominik Buchegger" userId="7f2052fac20aabcc" providerId="LiveId" clId="{29FA8417-6B0D-46BE-9EC8-FD3689C05EF9}" dt="2023-04-21T07:30:10.305" v="52" actId="1076"/>
        <pc:sldMkLst>
          <pc:docMk/>
          <pc:sldMk cId="1539011393" sldId="1557"/>
        </pc:sldMkLst>
        <pc:spChg chg="mod">
          <ac:chgData name="Dominik Buchegger" userId="7f2052fac20aabcc" providerId="LiveId" clId="{29FA8417-6B0D-46BE-9EC8-FD3689C05EF9}" dt="2023-04-21T07:29:31.406" v="47" actId="6549"/>
          <ac:spMkLst>
            <pc:docMk/>
            <pc:sldMk cId="1539011393" sldId="1557"/>
            <ac:spMk id="4" creationId="{39A97831-4FD2-5A3B-7C54-4C13FD29548E}"/>
          </ac:spMkLst>
        </pc:spChg>
        <pc:picChg chg="add mod">
          <ac:chgData name="Dominik Buchegger" userId="7f2052fac20aabcc" providerId="LiveId" clId="{29FA8417-6B0D-46BE-9EC8-FD3689C05EF9}" dt="2023-04-21T07:30:10.305" v="52" actId="1076"/>
          <ac:picMkLst>
            <pc:docMk/>
            <pc:sldMk cId="1539011393" sldId="1557"/>
            <ac:picMk id="9" creationId="{D9A7DCAD-8F05-A684-CD66-5FC9226CF63A}"/>
          </ac:picMkLst>
        </pc:picChg>
      </pc:sldChg>
      <pc:sldChg chg="ord">
        <pc:chgData name="Dominik Buchegger" userId="7f2052fac20aabcc" providerId="LiveId" clId="{29FA8417-6B0D-46BE-9EC8-FD3689C05EF9}" dt="2023-04-21T07:28:41.082" v="36"/>
        <pc:sldMkLst>
          <pc:docMk/>
          <pc:sldMk cId="2533122920" sldId="1558"/>
        </pc:sldMkLst>
      </pc:sldChg>
      <pc:sldChg chg="del ord">
        <pc:chgData name="Dominik Buchegger" userId="7f2052fac20aabcc" providerId="LiveId" clId="{29FA8417-6B0D-46BE-9EC8-FD3689C05EF9}" dt="2023-04-21T07:28:52.990" v="37" actId="47"/>
        <pc:sldMkLst>
          <pc:docMk/>
          <pc:sldMk cId="312220956" sldId="1559"/>
        </pc:sldMkLst>
      </pc:sldChg>
      <pc:sldChg chg="del">
        <pc:chgData name="Dominik Buchegger" userId="7f2052fac20aabcc" providerId="LiveId" clId="{29FA8417-6B0D-46BE-9EC8-FD3689C05EF9}" dt="2023-04-21T07:33:34.526" v="63" actId="47"/>
        <pc:sldMkLst>
          <pc:docMk/>
          <pc:sldMk cId="1751008410" sldId="1560"/>
        </pc:sldMkLst>
      </pc:sldChg>
      <pc:sldChg chg="del">
        <pc:chgData name="Dominik Buchegger" userId="7f2052fac20aabcc" providerId="LiveId" clId="{29FA8417-6B0D-46BE-9EC8-FD3689C05EF9}" dt="2023-04-21T07:33:34.526" v="63" actId="47"/>
        <pc:sldMkLst>
          <pc:docMk/>
          <pc:sldMk cId="234966487" sldId="1561"/>
        </pc:sldMkLst>
      </pc:sldChg>
      <pc:sldChg chg="del">
        <pc:chgData name="Dominik Buchegger" userId="7f2052fac20aabcc" providerId="LiveId" clId="{29FA8417-6B0D-46BE-9EC8-FD3689C05EF9}" dt="2023-04-21T07:33:34.526" v="63" actId="47"/>
        <pc:sldMkLst>
          <pc:docMk/>
          <pc:sldMk cId="1181202433" sldId="1562"/>
        </pc:sldMkLst>
      </pc:sldChg>
      <pc:sldChg chg="del">
        <pc:chgData name="Dominik Buchegger" userId="7f2052fac20aabcc" providerId="LiveId" clId="{29FA8417-6B0D-46BE-9EC8-FD3689C05EF9}" dt="2023-04-21T07:33:34.526" v="63" actId="47"/>
        <pc:sldMkLst>
          <pc:docMk/>
          <pc:sldMk cId="2701039927" sldId="1563"/>
        </pc:sldMkLst>
      </pc:sldChg>
      <pc:sldChg chg="del">
        <pc:chgData name="Dominik Buchegger" userId="7f2052fac20aabcc" providerId="LiveId" clId="{29FA8417-6B0D-46BE-9EC8-FD3689C05EF9}" dt="2023-04-21T07:33:34.526" v="63" actId="47"/>
        <pc:sldMkLst>
          <pc:docMk/>
          <pc:sldMk cId="1516122661" sldId="1564"/>
        </pc:sldMkLst>
      </pc:sldChg>
      <pc:sldChg chg="del">
        <pc:chgData name="Dominik Buchegger" userId="7f2052fac20aabcc" providerId="LiveId" clId="{29FA8417-6B0D-46BE-9EC8-FD3689C05EF9}" dt="2023-04-21T07:30:47.002" v="56" actId="47"/>
        <pc:sldMkLst>
          <pc:docMk/>
          <pc:sldMk cId="1654830134" sldId="1565"/>
        </pc:sldMkLst>
      </pc:sldChg>
      <pc:sldChg chg="del">
        <pc:chgData name="Dominik Buchegger" userId="7f2052fac20aabcc" providerId="LiveId" clId="{29FA8417-6B0D-46BE-9EC8-FD3689C05EF9}" dt="2023-04-21T07:30:47.002" v="56" actId="47"/>
        <pc:sldMkLst>
          <pc:docMk/>
          <pc:sldMk cId="1131304089" sldId="1566"/>
        </pc:sldMkLst>
      </pc:sldChg>
      <pc:sldChg chg="del">
        <pc:chgData name="Dominik Buchegger" userId="7f2052fac20aabcc" providerId="LiveId" clId="{29FA8417-6B0D-46BE-9EC8-FD3689C05EF9}" dt="2023-04-21T07:30:47.002" v="56" actId="47"/>
        <pc:sldMkLst>
          <pc:docMk/>
          <pc:sldMk cId="2947939728" sldId="1567"/>
        </pc:sldMkLst>
      </pc:sldChg>
      <pc:sldChg chg="del">
        <pc:chgData name="Dominik Buchegger" userId="7f2052fac20aabcc" providerId="LiveId" clId="{29FA8417-6B0D-46BE-9EC8-FD3689C05EF9}" dt="2023-04-21T07:30:47.002" v="56" actId="47"/>
        <pc:sldMkLst>
          <pc:docMk/>
          <pc:sldMk cId="2671201041" sldId="1568"/>
        </pc:sldMkLst>
      </pc:sldChg>
      <pc:sldChg chg="del">
        <pc:chgData name="Dominik Buchegger" userId="7f2052fac20aabcc" providerId="LiveId" clId="{29FA8417-6B0D-46BE-9EC8-FD3689C05EF9}" dt="2023-04-21T07:30:47.002" v="56" actId="47"/>
        <pc:sldMkLst>
          <pc:docMk/>
          <pc:sldMk cId="1496210347" sldId="1569"/>
        </pc:sldMkLst>
      </pc:sldChg>
      <pc:sldChg chg="del">
        <pc:chgData name="Dominik Buchegger" userId="7f2052fac20aabcc" providerId="LiveId" clId="{29FA8417-6B0D-46BE-9EC8-FD3689C05EF9}" dt="2023-04-21T07:30:47.002" v="56" actId="47"/>
        <pc:sldMkLst>
          <pc:docMk/>
          <pc:sldMk cId="825061669" sldId="1570"/>
        </pc:sldMkLst>
      </pc:sldChg>
      <pc:sldChg chg="add del">
        <pc:chgData name="Dominik Buchegger" userId="7f2052fac20aabcc" providerId="LiveId" clId="{29FA8417-6B0D-46BE-9EC8-FD3689C05EF9}" dt="2023-04-21T07:29:56.982" v="48" actId="47"/>
        <pc:sldMkLst>
          <pc:docMk/>
          <pc:sldMk cId="906930503" sldId="1571"/>
        </pc:sldMkLst>
      </pc:sldChg>
      <pc:sldChg chg="add ord">
        <pc:chgData name="Dominik Buchegger" userId="7f2052fac20aabcc" providerId="LiveId" clId="{29FA8417-6B0D-46BE-9EC8-FD3689C05EF9}" dt="2023-04-21T09:51:08.317" v="7937"/>
        <pc:sldMkLst>
          <pc:docMk/>
          <pc:sldMk cId="2655808385" sldId="1571"/>
        </pc:sldMkLst>
      </pc:sldChg>
      <pc:sldChg chg="modSp add mod ord">
        <pc:chgData name="Dominik Buchegger" userId="7f2052fac20aabcc" providerId="LiveId" clId="{29FA8417-6B0D-46BE-9EC8-FD3689C05EF9}" dt="2023-04-21T09:51:34.582" v="7941" actId="20577"/>
        <pc:sldMkLst>
          <pc:docMk/>
          <pc:sldMk cId="2953825467" sldId="1573"/>
        </pc:sldMkLst>
        <pc:spChg chg="mod">
          <ac:chgData name="Dominik Buchegger" userId="7f2052fac20aabcc" providerId="LiveId" clId="{29FA8417-6B0D-46BE-9EC8-FD3689C05EF9}" dt="2023-04-21T09:51:34.582" v="7941" actId="20577"/>
          <ac:spMkLst>
            <pc:docMk/>
            <pc:sldMk cId="2953825467" sldId="1573"/>
            <ac:spMk id="17" creationId="{10564D68-9629-1D42-3AEC-501FA24F36A6}"/>
          </ac:spMkLst>
        </pc:spChg>
      </pc:sldChg>
      <pc:sldChg chg="modSp add mod ord">
        <pc:chgData name="Dominik Buchegger" userId="7f2052fac20aabcc" providerId="LiveId" clId="{29FA8417-6B0D-46BE-9EC8-FD3689C05EF9}" dt="2023-04-21T09:51:52.713" v="7947" actId="20577"/>
        <pc:sldMkLst>
          <pc:docMk/>
          <pc:sldMk cId="2439606922" sldId="1574"/>
        </pc:sldMkLst>
        <pc:spChg chg="mod">
          <ac:chgData name="Dominik Buchegger" userId="7f2052fac20aabcc" providerId="LiveId" clId="{29FA8417-6B0D-46BE-9EC8-FD3689C05EF9}" dt="2023-04-21T09:51:52.713" v="7947" actId="20577"/>
          <ac:spMkLst>
            <pc:docMk/>
            <pc:sldMk cId="2439606922" sldId="1574"/>
            <ac:spMk id="9" creationId="{6BFECB42-D364-135B-DFE4-97746C1E2AE9}"/>
          </ac:spMkLst>
        </pc:spChg>
      </pc:sldChg>
      <pc:sldChg chg="add">
        <pc:chgData name="Dominik Buchegger" userId="7f2052fac20aabcc" providerId="LiveId" clId="{29FA8417-6B0D-46BE-9EC8-FD3689C05EF9}" dt="2023-04-21T07:30:36.756" v="55"/>
        <pc:sldMkLst>
          <pc:docMk/>
          <pc:sldMk cId="1788783526" sldId="1575"/>
        </pc:sldMkLst>
      </pc:sldChg>
      <pc:sldChg chg="add">
        <pc:chgData name="Dominik Buchegger" userId="7f2052fac20aabcc" providerId="LiveId" clId="{29FA8417-6B0D-46BE-9EC8-FD3689C05EF9}" dt="2023-04-21T07:30:36.756" v="55"/>
        <pc:sldMkLst>
          <pc:docMk/>
          <pc:sldMk cId="13328391" sldId="1576"/>
        </pc:sldMkLst>
      </pc:sldChg>
      <pc:sldChg chg="add">
        <pc:chgData name="Dominik Buchegger" userId="7f2052fac20aabcc" providerId="LiveId" clId="{29FA8417-6B0D-46BE-9EC8-FD3689C05EF9}" dt="2023-04-21T07:30:36.756" v="55"/>
        <pc:sldMkLst>
          <pc:docMk/>
          <pc:sldMk cId="1939768999" sldId="1577"/>
        </pc:sldMkLst>
      </pc:sldChg>
      <pc:sldChg chg="add">
        <pc:chgData name="Dominik Buchegger" userId="7f2052fac20aabcc" providerId="LiveId" clId="{29FA8417-6B0D-46BE-9EC8-FD3689C05EF9}" dt="2023-04-21T07:30:36.756" v="55"/>
        <pc:sldMkLst>
          <pc:docMk/>
          <pc:sldMk cId="2958788690" sldId="1578"/>
        </pc:sldMkLst>
      </pc:sldChg>
      <pc:sldChg chg="add">
        <pc:chgData name="Dominik Buchegger" userId="7f2052fac20aabcc" providerId="LiveId" clId="{29FA8417-6B0D-46BE-9EC8-FD3689C05EF9}" dt="2023-04-21T07:30:36.756" v="55"/>
        <pc:sldMkLst>
          <pc:docMk/>
          <pc:sldMk cId="693430294" sldId="1579"/>
        </pc:sldMkLst>
      </pc:sldChg>
      <pc:sldChg chg="add">
        <pc:chgData name="Dominik Buchegger" userId="7f2052fac20aabcc" providerId="LiveId" clId="{29FA8417-6B0D-46BE-9EC8-FD3689C05EF9}" dt="2023-04-21T07:30:36.756" v="55"/>
        <pc:sldMkLst>
          <pc:docMk/>
          <pc:sldMk cId="3425992774" sldId="1580"/>
        </pc:sldMkLst>
      </pc:sldChg>
      <pc:sldChg chg="add">
        <pc:chgData name="Dominik Buchegger" userId="7f2052fac20aabcc" providerId="LiveId" clId="{29FA8417-6B0D-46BE-9EC8-FD3689C05EF9}" dt="2023-04-21T07:30:36.756" v="55"/>
        <pc:sldMkLst>
          <pc:docMk/>
          <pc:sldMk cId="733635319" sldId="1581"/>
        </pc:sldMkLst>
      </pc:sldChg>
      <pc:sldChg chg="add">
        <pc:chgData name="Dominik Buchegger" userId="7f2052fac20aabcc" providerId="LiveId" clId="{29FA8417-6B0D-46BE-9EC8-FD3689C05EF9}" dt="2023-04-21T07:30:36.756" v="55"/>
        <pc:sldMkLst>
          <pc:docMk/>
          <pc:sldMk cId="2303736671" sldId="1582"/>
        </pc:sldMkLst>
      </pc:sldChg>
      <pc:sldChg chg="add">
        <pc:chgData name="Dominik Buchegger" userId="7f2052fac20aabcc" providerId="LiveId" clId="{29FA8417-6B0D-46BE-9EC8-FD3689C05EF9}" dt="2023-04-21T07:30:36.756" v="55"/>
        <pc:sldMkLst>
          <pc:docMk/>
          <pc:sldMk cId="2457310728" sldId="1583"/>
        </pc:sldMkLst>
      </pc:sldChg>
      <pc:sldChg chg="add">
        <pc:chgData name="Dominik Buchegger" userId="7f2052fac20aabcc" providerId="LiveId" clId="{29FA8417-6B0D-46BE-9EC8-FD3689C05EF9}" dt="2023-04-21T07:30:36.756" v="55"/>
        <pc:sldMkLst>
          <pc:docMk/>
          <pc:sldMk cId="4063859221" sldId="1584"/>
        </pc:sldMkLst>
      </pc:sldChg>
      <pc:sldChg chg="add del ord">
        <pc:chgData name="Dominik Buchegger" userId="7f2052fac20aabcc" providerId="LiveId" clId="{29FA8417-6B0D-46BE-9EC8-FD3689C05EF9}" dt="2023-04-21T08:40:28.148" v="2874" actId="47"/>
        <pc:sldMkLst>
          <pc:docMk/>
          <pc:sldMk cId="3019700112" sldId="1585"/>
        </pc:sldMkLst>
      </pc:sldChg>
      <pc:sldChg chg="modSp add del mod ord">
        <pc:chgData name="Dominik Buchegger" userId="7f2052fac20aabcc" providerId="LiveId" clId="{29FA8417-6B0D-46BE-9EC8-FD3689C05EF9}" dt="2023-04-21T08:49:13.168" v="3319" actId="47"/>
        <pc:sldMkLst>
          <pc:docMk/>
          <pc:sldMk cId="2364027253" sldId="1586"/>
        </pc:sldMkLst>
        <pc:spChg chg="mod">
          <ac:chgData name="Dominik Buchegger" userId="7f2052fac20aabcc" providerId="LiveId" clId="{29FA8417-6B0D-46BE-9EC8-FD3689C05EF9}" dt="2023-04-21T08:41:34.930" v="2944" actId="207"/>
          <ac:spMkLst>
            <pc:docMk/>
            <pc:sldMk cId="2364027253" sldId="1586"/>
            <ac:spMk id="2" creationId="{73CA2C2F-1575-93F0-2DFE-10F8702441CD}"/>
          </ac:spMkLst>
        </pc:spChg>
      </pc:sldChg>
      <pc:sldChg chg="modSp add mod ord">
        <pc:chgData name="Dominik Buchegger" userId="7f2052fac20aabcc" providerId="LiveId" clId="{29FA8417-6B0D-46BE-9EC8-FD3689C05EF9}" dt="2023-04-21T09:49:46.134" v="7860" actId="20577"/>
        <pc:sldMkLst>
          <pc:docMk/>
          <pc:sldMk cId="3905502700" sldId="1587"/>
        </pc:sldMkLst>
        <pc:spChg chg="mod">
          <ac:chgData name="Dominik Buchegger" userId="7f2052fac20aabcc" providerId="LiveId" clId="{29FA8417-6B0D-46BE-9EC8-FD3689C05EF9}" dt="2023-04-21T09:48:07.263" v="7824" actId="20577"/>
          <ac:spMkLst>
            <pc:docMk/>
            <pc:sldMk cId="3905502700" sldId="1587"/>
            <ac:spMk id="2" creationId="{A8994F40-D352-A095-BEEF-56879E3E8A0D}"/>
          </ac:spMkLst>
        </pc:spChg>
        <pc:spChg chg="mod">
          <ac:chgData name="Dominik Buchegger" userId="7f2052fac20aabcc" providerId="LiveId" clId="{29FA8417-6B0D-46BE-9EC8-FD3689C05EF9}" dt="2023-04-21T09:49:29.732" v="7859" actId="14100"/>
          <ac:spMkLst>
            <pc:docMk/>
            <pc:sldMk cId="3905502700" sldId="1587"/>
            <ac:spMk id="8" creationId="{8472D671-EB77-31C8-D05D-7E352528D82A}"/>
          </ac:spMkLst>
        </pc:spChg>
        <pc:spChg chg="mod">
          <ac:chgData name="Dominik Buchegger" userId="7f2052fac20aabcc" providerId="LiveId" clId="{29FA8417-6B0D-46BE-9EC8-FD3689C05EF9}" dt="2023-04-21T09:49:46.134" v="7860" actId="20577"/>
          <ac:spMkLst>
            <pc:docMk/>
            <pc:sldMk cId="3905502700" sldId="1587"/>
            <ac:spMk id="19" creationId="{1939AFED-BA47-CCD9-8410-0CF75203DD0E}"/>
          </ac:spMkLst>
        </pc:spChg>
      </pc:sldChg>
      <pc:sldChg chg="addSp delSp modSp add mod">
        <pc:chgData name="Dominik Buchegger" userId="7f2052fac20aabcc" providerId="LiveId" clId="{29FA8417-6B0D-46BE-9EC8-FD3689C05EF9}" dt="2023-04-21T09:47:49.234" v="7817"/>
        <pc:sldMkLst>
          <pc:docMk/>
          <pc:sldMk cId="1137320699" sldId="1588"/>
        </pc:sldMkLst>
        <pc:spChg chg="del">
          <ac:chgData name="Dominik Buchegger" userId="7f2052fac20aabcc" providerId="LiveId" clId="{29FA8417-6B0D-46BE-9EC8-FD3689C05EF9}" dt="2023-04-21T07:48:52.457" v="163" actId="478"/>
          <ac:spMkLst>
            <pc:docMk/>
            <pc:sldMk cId="1137320699" sldId="1588"/>
            <ac:spMk id="5" creationId="{31F0334B-DF5E-4A41-B638-F9A92ACE5793}"/>
          </ac:spMkLst>
        </pc:spChg>
        <pc:spChg chg="add mod">
          <ac:chgData name="Dominik Buchegger" userId="7f2052fac20aabcc" providerId="LiveId" clId="{29FA8417-6B0D-46BE-9EC8-FD3689C05EF9}" dt="2023-04-21T08:30:21.696" v="2481" actId="207"/>
          <ac:spMkLst>
            <pc:docMk/>
            <pc:sldMk cId="1137320699" sldId="1588"/>
            <ac:spMk id="6" creationId="{7BF3F069-FF83-3B75-ECC1-B7CCD14E8B52}"/>
          </ac:spMkLst>
        </pc:spChg>
        <pc:spChg chg="add mod">
          <ac:chgData name="Dominik Buchegger" userId="7f2052fac20aabcc" providerId="LiveId" clId="{29FA8417-6B0D-46BE-9EC8-FD3689C05EF9}" dt="2023-04-21T09:47:49.234" v="7817"/>
          <ac:spMkLst>
            <pc:docMk/>
            <pc:sldMk cId="1137320699" sldId="1588"/>
            <ac:spMk id="10" creationId="{E23EEAA4-3689-F840-C88F-CFABDBDD7031}"/>
          </ac:spMkLst>
        </pc:spChg>
        <pc:picChg chg="del">
          <ac:chgData name="Dominik Buchegger" userId="7f2052fac20aabcc" providerId="LiveId" clId="{29FA8417-6B0D-46BE-9EC8-FD3689C05EF9}" dt="2023-04-21T07:48:49.140" v="162" actId="478"/>
          <ac:picMkLst>
            <pc:docMk/>
            <pc:sldMk cId="1137320699" sldId="1588"/>
            <ac:picMk id="4" creationId="{09B4DB3C-F5A6-4D0E-AB1C-49D627FA1BD3}"/>
          </ac:picMkLst>
        </pc:picChg>
        <pc:picChg chg="del">
          <ac:chgData name="Dominik Buchegger" userId="7f2052fac20aabcc" providerId="LiveId" clId="{29FA8417-6B0D-46BE-9EC8-FD3689C05EF9}" dt="2023-04-21T07:48:47.446" v="161" actId="478"/>
          <ac:picMkLst>
            <pc:docMk/>
            <pc:sldMk cId="1137320699" sldId="1588"/>
            <ac:picMk id="7" creationId="{4FBD8506-7E0A-46A2-B975-30FD4D607A9E}"/>
          </ac:picMkLst>
        </pc:picChg>
        <pc:picChg chg="add mod">
          <ac:chgData name="Dominik Buchegger" userId="7f2052fac20aabcc" providerId="LiveId" clId="{29FA8417-6B0D-46BE-9EC8-FD3689C05EF9}" dt="2023-04-21T07:50:45.790" v="194" actId="1076"/>
          <ac:picMkLst>
            <pc:docMk/>
            <pc:sldMk cId="1137320699" sldId="1588"/>
            <ac:picMk id="8" creationId="{EB7FA85E-BC30-60A2-F87F-D00050100F1B}"/>
          </ac:picMkLst>
        </pc:picChg>
        <pc:picChg chg="add mod">
          <ac:chgData name="Dominik Buchegger" userId="7f2052fac20aabcc" providerId="LiveId" clId="{29FA8417-6B0D-46BE-9EC8-FD3689C05EF9}" dt="2023-04-21T07:50:39.609" v="193" actId="1076"/>
          <ac:picMkLst>
            <pc:docMk/>
            <pc:sldMk cId="1137320699" sldId="1588"/>
            <ac:picMk id="9" creationId="{DA5DDD15-AD68-EE3C-591F-FE1EA197A3AB}"/>
          </ac:picMkLst>
        </pc:picChg>
      </pc:sldChg>
      <pc:sldChg chg="new del">
        <pc:chgData name="Dominik Buchegger" userId="7f2052fac20aabcc" providerId="LiveId" clId="{29FA8417-6B0D-46BE-9EC8-FD3689C05EF9}" dt="2023-04-21T07:47:47.285" v="125" actId="680"/>
        <pc:sldMkLst>
          <pc:docMk/>
          <pc:sldMk cId="2791421611" sldId="1588"/>
        </pc:sldMkLst>
      </pc:sldChg>
      <pc:sldChg chg="addSp delSp modSp add mod">
        <pc:chgData name="Dominik Buchegger" userId="7f2052fac20aabcc" providerId="LiveId" clId="{29FA8417-6B0D-46BE-9EC8-FD3689C05EF9}" dt="2023-04-21T09:47:52.291" v="7819"/>
        <pc:sldMkLst>
          <pc:docMk/>
          <pc:sldMk cId="2474440386" sldId="1589"/>
        </pc:sldMkLst>
        <pc:spChg chg="add mod">
          <ac:chgData name="Dominik Buchegger" userId="7f2052fac20aabcc" providerId="LiveId" clId="{29FA8417-6B0D-46BE-9EC8-FD3689C05EF9}" dt="2023-04-21T09:47:52.291" v="7819"/>
          <ac:spMkLst>
            <pc:docMk/>
            <pc:sldMk cId="2474440386" sldId="1589"/>
            <ac:spMk id="5" creationId="{5B1B6DD8-6603-1C68-92CF-E6D1454AD161}"/>
          </ac:spMkLst>
        </pc:spChg>
        <pc:spChg chg="del mod">
          <ac:chgData name="Dominik Buchegger" userId="7f2052fac20aabcc" providerId="LiveId" clId="{29FA8417-6B0D-46BE-9EC8-FD3689C05EF9}" dt="2023-04-21T07:49:47.372" v="180" actId="478"/>
          <ac:spMkLst>
            <pc:docMk/>
            <pc:sldMk cId="2474440386" sldId="1589"/>
            <ac:spMk id="11" creationId="{634FD6B8-905E-47D9-8AF3-F90350B87771}"/>
          </ac:spMkLst>
        </pc:spChg>
        <pc:picChg chg="add mod">
          <ac:chgData name="Dominik Buchegger" userId="7f2052fac20aabcc" providerId="LiveId" clId="{29FA8417-6B0D-46BE-9EC8-FD3689C05EF9}" dt="2023-04-21T07:50:06.411" v="183" actId="1076"/>
          <ac:picMkLst>
            <pc:docMk/>
            <pc:sldMk cId="2474440386" sldId="1589"/>
            <ac:picMk id="3" creationId="{E33B2B84-7EBD-F93F-3032-C93FF3C3F6D2}"/>
          </ac:picMkLst>
        </pc:picChg>
        <pc:picChg chg="add mod modCrop">
          <ac:chgData name="Dominik Buchegger" userId="7f2052fac20aabcc" providerId="LiveId" clId="{29FA8417-6B0D-46BE-9EC8-FD3689C05EF9}" dt="2023-04-21T07:50:30.738" v="191" actId="14100"/>
          <ac:picMkLst>
            <pc:docMk/>
            <pc:sldMk cId="2474440386" sldId="1589"/>
            <ac:picMk id="4" creationId="{EA41B713-50AF-38C5-62C7-75E4A9EA7BB4}"/>
          </ac:picMkLst>
        </pc:picChg>
        <pc:picChg chg="del">
          <ac:chgData name="Dominik Buchegger" userId="7f2052fac20aabcc" providerId="LiveId" clId="{29FA8417-6B0D-46BE-9EC8-FD3689C05EF9}" dt="2023-04-21T07:49:45.130" v="178" actId="478"/>
          <ac:picMkLst>
            <pc:docMk/>
            <pc:sldMk cId="2474440386" sldId="1589"/>
            <ac:picMk id="10" creationId="{B8D9E7A7-FA0E-4BB8-BF55-EA31DF1FB083}"/>
          </ac:picMkLst>
        </pc:picChg>
        <pc:picChg chg="del">
          <ac:chgData name="Dominik Buchegger" userId="7f2052fac20aabcc" providerId="LiveId" clId="{29FA8417-6B0D-46BE-9EC8-FD3689C05EF9}" dt="2023-04-21T07:49:44.117" v="177" actId="478"/>
          <ac:picMkLst>
            <pc:docMk/>
            <pc:sldMk cId="2474440386" sldId="1589"/>
            <ac:picMk id="13" creationId="{35B29F24-1C38-4D82-8CF5-3DC2F0B2A868}"/>
          </ac:picMkLst>
        </pc:picChg>
      </pc:sldChg>
      <pc:sldChg chg="addSp modSp add mod ord">
        <pc:chgData name="Dominik Buchegger" userId="7f2052fac20aabcc" providerId="LiveId" clId="{29FA8417-6B0D-46BE-9EC8-FD3689C05EF9}" dt="2023-04-21T09:47:54.096" v="7820"/>
        <pc:sldMkLst>
          <pc:docMk/>
          <pc:sldMk cId="672938778" sldId="1590"/>
        </pc:sldMkLst>
        <pc:spChg chg="add mod">
          <ac:chgData name="Dominik Buchegger" userId="7f2052fac20aabcc" providerId="LiveId" clId="{29FA8417-6B0D-46BE-9EC8-FD3689C05EF9}" dt="2023-04-21T09:47:54.096" v="7820"/>
          <ac:spMkLst>
            <pc:docMk/>
            <pc:sldMk cId="672938778" sldId="1590"/>
            <ac:spMk id="3" creationId="{C7F28E43-2D11-5014-8410-861A1118EDFB}"/>
          </ac:spMkLst>
        </pc:spChg>
        <pc:spChg chg="mod">
          <ac:chgData name="Dominik Buchegger" userId="7f2052fac20aabcc" providerId="LiveId" clId="{29FA8417-6B0D-46BE-9EC8-FD3689C05EF9}" dt="2023-04-21T07:54:50.290" v="387" actId="1076"/>
          <ac:spMkLst>
            <pc:docMk/>
            <pc:sldMk cId="672938778" sldId="1590"/>
            <ac:spMk id="9" creationId="{FA9129D9-F10E-464E-8699-44D93E723EDB}"/>
          </ac:spMkLst>
        </pc:spChg>
      </pc:sldChg>
      <pc:sldChg chg="addSp delSp modSp add mod ord">
        <pc:chgData name="Dominik Buchegger" userId="7f2052fac20aabcc" providerId="LiveId" clId="{29FA8417-6B0D-46BE-9EC8-FD3689C05EF9}" dt="2023-04-21T09:47:34.055" v="7809"/>
        <pc:sldMkLst>
          <pc:docMk/>
          <pc:sldMk cId="1303674661" sldId="1591"/>
        </pc:sldMkLst>
        <pc:spChg chg="mod">
          <ac:chgData name="Dominik Buchegger" userId="7f2052fac20aabcc" providerId="LiveId" clId="{29FA8417-6B0D-46BE-9EC8-FD3689C05EF9}" dt="2023-04-21T09:40:21.359" v="7432" actId="20577"/>
          <ac:spMkLst>
            <pc:docMk/>
            <pc:sldMk cId="1303674661" sldId="1591"/>
            <ac:spMk id="2" creationId="{A6A00921-825B-4F01-B434-F18EC92753F3}"/>
          </ac:spMkLst>
        </pc:spChg>
        <pc:spChg chg="del">
          <ac:chgData name="Dominik Buchegger" userId="7f2052fac20aabcc" providerId="LiveId" clId="{29FA8417-6B0D-46BE-9EC8-FD3689C05EF9}" dt="2023-04-21T08:01:52.782" v="485" actId="478"/>
          <ac:spMkLst>
            <pc:docMk/>
            <pc:sldMk cId="1303674661" sldId="1591"/>
            <ac:spMk id="3" creationId="{F4DFDA4D-1802-8B39-A96C-2B54F2E01DA1}"/>
          </ac:spMkLst>
        </pc:spChg>
        <pc:spChg chg="add del mod">
          <ac:chgData name="Dominik Buchegger" userId="7f2052fac20aabcc" providerId="LiveId" clId="{29FA8417-6B0D-46BE-9EC8-FD3689C05EF9}" dt="2023-04-21T08:01:59.118" v="487" actId="478"/>
          <ac:spMkLst>
            <pc:docMk/>
            <pc:sldMk cId="1303674661" sldId="1591"/>
            <ac:spMk id="5" creationId="{B0D290A5-3ADB-8B10-7D42-E3DD049AC3CC}"/>
          </ac:spMkLst>
        </pc:spChg>
        <pc:spChg chg="add del mod">
          <ac:chgData name="Dominik Buchegger" userId="7f2052fac20aabcc" providerId="LiveId" clId="{29FA8417-6B0D-46BE-9EC8-FD3689C05EF9}" dt="2023-04-21T09:38:43.800" v="7410"/>
          <ac:spMkLst>
            <pc:docMk/>
            <pc:sldMk cId="1303674661" sldId="1591"/>
            <ac:spMk id="7" creationId="{4B5B6C35-F73D-124A-E947-7C26D5D83EDE}"/>
          </ac:spMkLst>
        </pc:spChg>
        <pc:spChg chg="add del">
          <ac:chgData name="Dominik Buchegger" userId="7f2052fac20aabcc" providerId="LiveId" clId="{29FA8417-6B0D-46BE-9EC8-FD3689C05EF9}" dt="2023-04-21T09:38:54.110" v="7415" actId="22"/>
          <ac:spMkLst>
            <pc:docMk/>
            <pc:sldMk cId="1303674661" sldId="1591"/>
            <ac:spMk id="12" creationId="{EE6C2530-DCA7-8B8C-A55F-7AC48533B53C}"/>
          </ac:spMkLst>
        </pc:spChg>
        <pc:spChg chg="add del">
          <ac:chgData name="Dominik Buchegger" userId="7f2052fac20aabcc" providerId="LiveId" clId="{29FA8417-6B0D-46BE-9EC8-FD3689C05EF9}" dt="2023-04-21T09:38:56.857" v="7417" actId="22"/>
          <ac:spMkLst>
            <pc:docMk/>
            <pc:sldMk cId="1303674661" sldId="1591"/>
            <ac:spMk id="14" creationId="{96281E7B-FC4C-3179-6813-4DA979C70F50}"/>
          </ac:spMkLst>
        </pc:spChg>
        <pc:spChg chg="add mod">
          <ac:chgData name="Dominik Buchegger" userId="7f2052fac20aabcc" providerId="LiveId" clId="{29FA8417-6B0D-46BE-9EC8-FD3689C05EF9}" dt="2023-04-21T09:44:18.639" v="7789" actId="1076"/>
          <ac:spMkLst>
            <pc:docMk/>
            <pc:sldMk cId="1303674661" sldId="1591"/>
            <ac:spMk id="16" creationId="{C6725F1F-AE1F-4DA8-C4ED-55C19BB8FC04}"/>
          </ac:spMkLst>
        </pc:spChg>
        <pc:spChg chg="add mod">
          <ac:chgData name="Dominik Buchegger" userId="7f2052fac20aabcc" providerId="LiveId" clId="{29FA8417-6B0D-46BE-9EC8-FD3689C05EF9}" dt="2023-04-21T09:47:34.055" v="7809"/>
          <ac:spMkLst>
            <pc:docMk/>
            <pc:sldMk cId="1303674661" sldId="1591"/>
            <ac:spMk id="17" creationId="{58EE558F-23DD-6869-6A58-73E6F3D6DEE6}"/>
          </ac:spMkLst>
        </pc:spChg>
        <pc:picChg chg="add del">
          <ac:chgData name="Dominik Buchegger" userId="7f2052fac20aabcc" providerId="LiveId" clId="{29FA8417-6B0D-46BE-9EC8-FD3689C05EF9}" dt="2023-04-21T09:38:31.035" v="7405" actId="478"/>
          <ac:picMkLst>
            <pc:docMk/>
            <pc:sldMk cId="1303674661" sldId="1591"/>
            <ac:picMk id="9" creationId="{72E241E5-3DB2-4727-A8CE-7BA69D7D875F}"/>
          </ac:picMkLst>
        </pc:picChg>
        <pc:picChg chg="add mod">
          <ac:chgData name="Dominik Buchegger" userId="7f2052fac20aabcc" providerId="LiveId" clId="{29FA8417-6B0D-46BE-9EC8-FD3689C05EF9}" dt="2023-04-21T09:44:17.213" v="7787" actId="14100"/>
          <ac:picMkLst>
            <pc:docMk/>
            <pc:sldMk cId="1303674661" sldId="1591"/>
            <ac:picMk id="10" creationId="{14EA4048-F654-61B9-8CCC-20B410F8A332}"/>
          </ac:picMkLst>
        </pc:picChg>
      </pc:sldChg>
      <pc:sldChg chg="addSp delSp modSp add del mod ord">
        <pc:chgData name="Dominik Buchegger" userId="7f2052fac20aabcc" providerId="LiveId" clId="{29FA8417-6B0D-46BE-9EC8-FD3689C05EF9}" dt="2023-04-21T09:38:08.651" v="7346" actId="47"/>
        <pc:sldMkLst>
          <pc:docMk/>
          <pc:sldMk cId="3426660480" sldId="1592"/>
        </pc:sldMkLst>
        <pc:spChg chg="mod">
          <ac:chgData name="Dominik Buchegger" userId="7f2052fac20aabcc" providerId="LiveId" clId="{29FA8417-6B0D-46BE-9EC8-FD3689C05EF9}" dt="2023-04-21T08:35:19.253" v="2691" actId="20577"/>
          <ac:spMkLst>
            <pc:docMk/>
            <pc:sldMk cId="3426660480" sldId="1592"/>
            <ac:spMk id="2" creationId="{A6A00921-825B-4F01-B434-F18EC92753F3}"/>
          </ac:spMkLst>
        </pc:spChg>
        <pc:spChg chg="add mod">
          <ac:chgData name="Dominik Buchegger" userId="7f2052fac20aabcc" providerId="LiveId" clId="{29FA8417-6B0D-46BE-9EC8-FD3689C05EF9}" dt="2023-04-21T08:38:22.507" v="2857" actId="1076"/>
          <ac:spMkLst>
            <pc:docMk/>
            <pc:sldMk cId="3426660480" sldId="1592"/>
            <ac:spMk id="4" creationId="{9EE1F0CA-5524-BD9C-5D58-021911844611}"/>
          </ac:spMkLst>
        </pc:spChg>
        <pc:picChg chg="add mod">
          <ac:chgData name="Dominik Buchegger" userId="7f2052fac20aabcc" providerId="LiveId" clId="{29FA8417-6B0D-46BE-9EC8-FD3689C05EF9}" dt="2023-04-21T08:36:43.109" v="2829"/>
          <ac:picMkLst>
            <pc:docMk/>
            <pc:sldMk cId="3426660480" sldId="1592"/>
            <ac:picMk id="5" creationId="{2409549F-BAE3-2ABE-25FF-7CBDFFE85E27}"/>
          </ac:picMkLst>
        </pc:picChg>
        <pc:picChg chg="add mod modCrop">
          <ac:chgData name="Dominik Buchegger" userId="7f2052fac20aabcc" providerId="LiveId" clId="{29FA8417-6B0D-46BE-9EC8-FD3689C05EF9}" dt="2023-04-21T08:37:56.350" v="2844" actId="732"/>
          <ac:picMkLst>
            <pc:docMk/>
            <pc:sldMk cId="3426660480" sldId="1592"/>
            <ac:picMk id="6" creationId="{B9887FAB-7DF9-F485-826B-5F3D6C9586F4}"/>
          </ac:picMkLst>
        </pc:picChg>
        <pc:picChg chg="add mod modCrop">
          <ac:chgData name="Dominik Buchegger" userId="7f2052fac20aabcc" providerId="LiveId" clId="{29FA8417-6B0D-46BE-9EC8-FD3689C05EF9}" dt="2023-04-21T08:38:53.481" v="2867" actId="1076"/>
          <ac:picMkLst>
            <pc:docMk/>
            <pc:sldMk cId="3426660480" sldId="1592"/>
            <ac:picMk id="7" creationId="{5CE1BCEB-A37D-9829-3F82-C7ADDDB59720}"/>
          </ac:picMkLst>
        </pc:picChg>
        <pc:picChg chg="del">
          <ac:chgData name="Dominik Buchegger" userId="7f2052fac20aabcc" providerId="LiveId" clId="{29FA8417-6B0D-46BE-9EC8-FD3689C05EF9}" dt="2023-04-21T08:34:38.691" v="2656" actId="478"/>
          <ac:picMkLst>
            <pc:docMk/>
            <pc:sldMk cId="3426660480" sldId="1592"/>
            <ac:picMk id="9" creationId="{72E241E5-3DB2-4727-A8CE-7BA69D7D875F}"/>
          </ac:picMkLst>
        </pc:picChg>
      </pc:sldChg>
      <pc:sldChg chg="addSp delSp modSp add mod modClrScheme chgLayout">
        <pc:chgData name="Dominik Buchegger" userId="7f2052fac20aabcc" providerId="LiveId" clId="{29FA8417-6B0D-46BE-9EC8-FD3689C05EF9}" dt="2023-04-21T08:49:01.683" v="3318" actId="1076"/>
        <pc:sldMkLst>
          <pc:docMk/>
          <pc:sldMk cId="848798205" sldId="1593"/>
        </pc:sldMkLst>
        <pc:spChg chg="mod ord">
          <ac:chgData name="Dominik Buchegger" userId="7f2052fac20aabcc" providerId="LiveId" clId="{29FA8417-6B0D-46BE-9EC8-FD3689C05EF9}" dt="2023-04-21T08:48:02.897" v="3296" actId="700"/>
          <ac:spMkLst>
            <pc:docMk/>
            <pc:sldMk cId="848798205" sldId="1593"/>
            <ac:spMk id="2" creationId="{73CA2C2F-1575-93F0-2DFE-10F8702441CD}"/>
          </ac:spMkLst>
        </pc:spChg>
        <pc:spChg chg="add del">
          <ac:chgData name="Dominik Buchegger" userId="7f2052fac20aabcc" providerId="LiveId" clId="{29FA8417-6B0D-46BE-9EC8-FD3689C05EF9}" dt="2023-04-21T08:43:10.875" v="2949"/>
          <ac:spMkLst>
            <pc:docMk/>
            <pc:sldMk cId="848798205" sldId="1593"/>
            <ac:spMk id="3" creationId="{4E6C04A3-758F-9403-3687-206D18AE3F68}"/>
          </ac:spMkLst>
        </pc:spChg>
        <pc:spChg chg="mod ord">
          <ac:chgData name="Dominik Buchegger" userId="7f2052fac20aabcc" providerId="LiveId" clId="{29FA8417-6B0D-46BE-9EC8-FD3689C05EF9}" dt="2023-04-21T08:48:02.897" v="3296" actId="700"/>
          <ac:spMkLst>
            <pc:docMk/>
            <pc:sldMk cId="848798205" sldId="1593"/>
            <ac:spMk id="4" creationId="{B9ADA6DF-7210-51C0-FF3B-4ADB643A42C6}"/>
          </ac:spMkLst>
        </pc:spChg>
        <pc:spChg chg="add del">
          <ac:chgData name="Dominik Buchegger" userId="7f2052fac20aabcc" providerId="LiveId" clId="{29FA8417-6B0D-46BE-9EC8-FD3689C05EF9}" dt="2023-04-21T08:43:10.875" v="2949"/>
          <ac:spMkLst>
            <pc:docMk/>
            <pc:sldMk cId="848798205" sldId="1593"/>
            <ac:spMk id="5" creationId="{48490F9F-9AEB-0BCD-40D6-C2AD4DE3FC5B}"/>
          </ac:spMkLst>
        </pc:spChg>
        <pc:spChg chg="add mod">
          <ac:chgData name="Dominik Buchegger" userId="7f2052fac20aabcc" providerId="LiveId" clId="{29FA8417-6B0D-46BE-9EC8-FD3689C05EF9}" dt="2023-04-21T08:43:25.174" v="2952" actId="1076"/>
          <ac:spMkLst>
            <pc:docMk/>
            <pc:sldMk cId="848798205" sldId="1593"/>
            <ac:spMk id="6" creationId="{B0234617-AC1C-905C-6BF3-4239467BBE9D}"/>
          </ac:spMkLst>
        </pc:spChg>
        <pc:spChg chg="add del mod">
          <ac:chgData name="Dominik Buchegger" userId="7f2052fac20aabcc" providerId="LiveId" clId="{29FA8417-6B0D-46BE-9EC8-FD3689C05EF9}" dt="2023-04-21T08:43:56.905" v="2964" actId="478"/>
          <ac:spMkLst>
            <pc:docMk/>
            <pc:sldMk cId="848798205" sldId="1593"/>
            <ac:spMk id="7" creationId="{BF049E6A-015C-064C-0ADA-003A19571550}"/>
          </ac:spMkLst>
        </pc:spChg>
        <pc:spChg chg="add del mod">
          <ac:chgData name="Dominik Buchegger" userId="7f2052fac20aabcc" providerId="LiveId" clId="{29FA8417-6B0D-46BE-9EC8-FD3689C05EF9}" dt="2023-04-21T08:43:45.636" v="2957" actId="478"/>
          <ac:spMkLst>
            <pc:docMk/>
            <pc:sldMk cId="848798205" sldId="1593"/>
            <ac:spMk id="8" creationId="{672FDE59-61A5-F93D-A174-503A65B39495}"/>
          </ac:spMkLst>
        </pc:spChg>
        <pc:spChg chg="add del mod">
          <ac:chgData name="Dominik Buchegger" userId="7f2052fac20aabcc" providerId="LiveId" clId="{29FA8417-6B0D-46BE-9EC8-FD3689C05EF9}" dt="2023-04-21T08:47:08.728" v="3254" actId="478"/>
          <ac:spMkLst>
            <pc:docMk/>
            <pc:sldMk cId="848798205" sldId="1593"/>
            <ac:spMk id="10" creationId="{B01A22E1-EE19-FFB8-8562-DDA39B3FFC64}"/>
          </ac:spMkLst>
        </pc:spChg>
        <pc:spChg chg="add del mod ord">
          <ac:chgData name="Dominik Buchegger" userId="7f2052fac20aabcc" providerId="LiveId" clId="{29FA8417-6B0D-46BE-9EC8-FD3689C05EF9}" dt="2023-04-21T08:48:02.897" v="3296" actId="700"/>
          <ac:spMkLst>
            <pc:docMk/>
            <pc:sldMk cId="848798205" sldId="1593"/>
            <ac:spMk id="11" creationId="{703ABE81-D73D-7D08-B280-304B8749D791}"/>
          </ac:spMkLst>
        </pc:spChg>
        <pc:spChg chg="add del mod ord">
          <ac:chgData name="Dominik Buchegger" userId="7f2052fac20aabcc" providerId="LiveId" clId="{29FA8417-6B0D-46BE-9EC8-FD3689C05EF9}" dt="2023-04-21T08:48:25.204" v="3303" actId="403"/>
          <ac:spMkLst>
            <pc:docMk/>
            <pc:sldMk cId="848798205" sldId="1593"/>
            <ac:spMk id="25" creationId="{1B57FCB3-CB7E-2D20-379A-5CD01A363D23}"/>
          </ac:spMkLst>
        </pc:spChg>
        <pc:spChg chg="add del mod ord">
          <ac:chgData name="Dominik Buchegger" userId="7f2052fac20aabcc" providerId="LiveId" clId="{29FA8417-6B0D-46BE-9EC8-FD3689C05EF9}" dt="2023-04-21T08:48:02.897" v="3296" actId="700"/>
          <ac:spMkLst>
            <pc:docMk/>
            <pc:sldMk cId="848798205" sldId="1593"/>
            <ac:spMk id="27" creationId="{DA0F0C99-DB48-0B98-A74E-98854E98D8BE}"/>
          </ac:spMkLst>
        </pc:spChg>
        <pc:picChg chg="del">
          <ac:chgData name="Dominik Buchegger" userId="7f2052fac20aabcc" providerId="LiveId" clId="{29FA8417-6B0D-46BE-9EC8-FD3689C05EF9}" dt="2023-04-21T08:43:36.015" v="2955" actId="478"/>
          <ac:picMkLst>
            <pc:docMk/>
            <pc:sldMk cId="848798205" sldId="1593"/>
            <ac:picMk id="15" creationId="{4E7F452E-6594-2D0D-2EC5-8490AAE2BCCC}"/>
          </ac:picMkLst>
        </pc:picChg>
        <pc:picChg chg="add del">
          <ac:chgData name="Dominik Buchegger" userId="7f2052fac20aabcc" providerId="LiveId" clId="{29FA8417-6B0D-46BE-9EC8-FD3689C05EF9}" dt="2023-04-21T08:43:10.875" v="2949"/>
          <ac:picMkLst>
            <pc:docMk/>
            <pc:sldMk cId="848798205" sldId="1593"/>
            <ac:picMk id="2049" creationId="{BC97AAC4-6011-518C-CEF3-C01F43612120}"/>
          </ac:picMkLst>
        </pc:picChg>
        <pc:picChg chg="add mod">
          <ac:chgData name="Dominik Buchegger" userId="7f2052fac20aabcc" providerId="LiveId" clId="{29FA8417-6B0D-46BE-9EC8-FD3689C05EF9}" dt="2023-04-21T08:49:01.683" v="3318" actId="1076"/>
          <ac:picMkLst>
            <pc:docMk/>
            <pc:sldMk cId="848798205" sldId="1593"/>
            <ac:picMk id="2052" creationId="{6B29614E-D22D-4E07-4214-E480708F2419}"/>
          </ac:picMkLst>
        </pc:picChg>
        <pc:picChg chg="add mod">
          <ac:chgData name="Dominik Buchegger" userId="7f2052fac20aabcc" providerId="LiveId" clId="{29FA8417-6B0D-46BE-9EC8-FD3689C05EF9}" dt="2023-04-21T08:48:53.876" v="3317" actId="1037"/>
          <ac:picMkLst>
            <pc:docMk/>
            <pc:sldMk cId="848798205" sldId="1593"/>
            <ac:picMk id="2053" creationId="{65AEC993-BCD1-E441-C454-DCDB0B47930A}"/>
          </ac:picMkLst>
        </pc:picChg>
        <pc:picChg chg="add mod">
          <ac:chgData name="Dominik Buchegger" userId="7f2052fac20aabcc" providerId="LiveId" clId="{29FA8417-6B0D-46BE-9EC8-FD3689C05EF9}" dt="2023-04-21T08:48:41.710" v="3307" actId="1076"/>
          <ac:picMkLst>
            <pc:docMk/>
            <pc:sldMk cId="848798205" sldId="1593"/>
            <ac:picMk id="2054" creationId="{4614EBAF-5D77-AEE9-0A18-AF2ADDB479B9}"/>
          </ac:picMkLst>
        </pc:picChg>
      </pc:sldChg>
      <pc:sldChg chg="addSp delSp modSp add del mod">
        <pc:chgData name="Dominik Buchegger" userId="7f2052fac20aabcc" providerId="LiveId" clId="{29FA8417-6B0D-46BE-9EC8-FD3689C05EF9}" dt="2023-04-21T09:35:36.866" v="7334" actId="47"/>
        <pc:sldMkLst>
          <pc:docMk/>
          <pc:sldMk cId="222329174" sldId="1594"/>
        </pc:sldMkLst>
        <pc:spChg chg="add del mod">
          <ac:chgData name="Dominik Buchegger" userId="7f2052fac20aabcc" providerId="LiveId" clId="{29FA8417-6B0D-46BE-9EC8-FD3689C05EF9}" dt="2023-04-21T08:50:09.121" v="3323" actId="478"/>
          <ac:spMkLst>
            <pc:docMk/>
            <pc:sldMk cId="222329174" sldId="1594"/>
            <ac:spMk id="5" creationId="{DEAEBB9A-C709-6806-A3C4-8D083C3D7BAC}"/>
          </ac:spMkLst>
        </pc:spChg>
        <pc:spChg chg="add del mod">
          <ac:chgData name="Dominik Buchegger" userId="7f2052fac20aabcc" providerId="LiveId" clId="{29FA8417-6B0D-46BE-9EC8-FD3689C05EF9}" dt="2023-04-21T08:54:49.734" v="3800" actId="478"/>
          <ac:spMkLst>
            <pc:docMk/>
            <pc:sldMk cId="222329174" sldId="1594"/>
            <ac:spMk id="7" creationId="{219BB056-C7C6-1E06-7F8F-74686E5032AB}"/>
          </ac:spMkLst>
        </pc:spChg>
        <pc:spChg chg="add">
          <ac:chgData name="Dominik Buchegger" userId="7f2052fac20aabcc" providerId="LiveId" clId="{29FA8417-6B0D-46BE-9EC8-FD3689C05EF9}" dt="2023-04-21T08:50:12.603" v="3326"/>
          <ac:spMkLst>
            <pc:docMk/>
            <pc:sldMk cId="222329174" sldId="1594"/>
            <ac:spMk id="8" creationId="{AE191956-4DF3-CA9F-F32F-78B0DCE48377}"/>
          </ac:spMkLst>
        </pc:spChg>
        <pc:spChg chg="add">
          <ac:chgData name="Dominik Buchegger" userId="7f2052fac20aabcc" providerId="LiveId" clId="{29FA8417-6B0D-46BE-9EC8-FD3689C05EF9}" dt="2023-04-21T08:50:12.603" v="3326"/>
          <ac:spMkLst>
            <pc:docMk/>
            <pc:sldMk cId="222329174" sldId="1594"/>
            <ac:spMk id="9" creationId="{34D20667-0944-312E-EDC1-3E891584E63A}"/>
          </ac:spMkLst>
        </pc:spChg>
        <pc:spChg chg="del">
          <ac:chgData name="Dominik Buchegger" userId="7f2052fac20aabcc" providerId="LiveId" clId="{29FA8417-6B0D-46BE-9EC8-FD3689C05EF9}" dt="2023-04-21T08:50:01.938" v="3321" actId="478"/>
          <ac:spMkLst>
            <pc:docMk/>
            <pc:sldMk cId="222329174" sldId="1594"/>
            <ac:spMk id="25" creationId="{1B57FCB3-CB7E-2D20-379A-5CD01A363D23}"/>
          </ac:spMkLst>
        </pc:spChg>
        <pc:picChg chg="del">
          <ac:chgData name="Dominik Buchegger" userId="7f2052fac20aabcc" providerId="LiveId" clId="{29FA8417-6B0D-46BE-9EC8-FD3689C05EF9}" dt="2023-04-21T08:50:10.705" v="3325" actId="478"/>
          <ac:picMkLst>
            <pc:docMk/>
            <pc:sldMk cId="222329174" sldId="1594"/>
            <ac:picMk id="2052" creationId="{6B29614E-D22D-4E07-4214-E480708F2419}"/>
          </ac:picMkLst>
        </pc:picChg>
        <pc:picChg chg="del">
          <ac:chgData name="Dominik Buchegger" userId="7f2052fac20aabcc" providerId="LiveId" clId="{29FA8417-6B0D-46BE-9EC8-FD3689C05EF9}" dt="2023-04-21T08:50:09.909" v="3324" actId="478"/>
          <ac:picMkLst>
            <pc:docMk/>
            <pc:sldMk cId="222329174" sldId="1594"/>
            <ac:picMk id="2053" creationId="{65AEC993-BCD1-E441-C454-DCDB0B47930A}"/>
          </ac:picMkLst>
        </pc:picChg>
        <pc:picChg chg="del">
          <ac:chgData name="Dominik Buchegger" userId="7f2052fac20aabcc" providerId="LiveId" clId="{29FA8417-6B0D-46BE-9EC8-FD3689C05EF9}" dt="2023-04-21T08:50:05.694" v="3322" actId="478"/>
          <ac:picMkLst>
            <pc:docMk/>
            <pc:sldMk cId="222329174" sldId="1594"/>
            <ac:picMk id="2054" creationId="{4614EBAF-5D77-AEE9-0A18-AF2ADDB479B9}"/>
          </ac:picMkLst>
        </pc:picChg>
        <pc:picChg chg="add">
          <ac:chgData name="Dominik Buchegger" userId="7f2052fac20aabcc" providerId="LiveId" clId="{29FA8417-6B0D-46BE-9EC8-FD3689C05EF9}" dt="2023-04-21T08:50:12.603" v="3326"/>
          <ac:picMkLst>
            <pc:docMk/>
            <pc:sldMk cId="222329174" sldId="1594"/>
            <ac:picMk id="3073" creationId="{06C365BA-E905-4647-5572-708CB3FDFAB9}"/>
          </ac:picMkLst>
        </pc:picChg>
        <pc:picChg chg="add">
          <ac:chgData name="Dominik Buchegger" userId="7f2052fac20aabcc" providerId="LiveId" clId="{29FA8417-6B0D-46BE-9EC8-FD3689C05EF9}" dt="2023-04-21T08:50:12.603" v="3326"/>
          <ac:picMkLst>
            <pc:docMk/>
            <pc:sldMk cId="222329174" sldId="1594"/>
            <ac:picMk id="3074" creationId="{AC448035-C95B-7D71-AD30-F51D23EEA70B}"/>
          </ac:picMkLst>
        </pc:picChg>
      </pc:sldChg>
      <pc:sldChg chg="addSp delSp modSp add mod ord">
        <pc:chgData name="Dominik Buchegger" userId="7f2052fac20aabcc" providerId="LiveId" clId="{29FA8417-6B0D-46BE-9EC8-FD3689C05EF9}" dt="2023-04-21T09:47:38.387" v="7812"/>
        <pc:sldMkLst>
          <pc:docMk/>
          <pc:sldMk cId="453638290" sldId="1595"/>
        </pc:sldMkLst>
        <pc:spChg chg="mod">
          <ac:chgData name="Dominik Buchegger" userId="7f2052fac20aabcc" providerId="LiveId" clId="{29FA8417-6B0D-46BE-9EC8-FD3689C05EF9}" dt="2023-04-21T09:00:58.521" v="4439" actId="20577"/>
          <ac:spMkLst>
            <pc:docMk/>
            <pc:sldMk cId="453638290" sldId="1595"/>
            <ac:spMk id="2" creationId="{73CA2C2F-1575-93F0-2DFE-10F8702441CD}"/>
          </ac:spMkLst>
        </pc:spChg>
        <pc:spChg chg="add del mod">
          <ac:chgData name="Dominik Buchegger" userId="7f2052fac20aabcc" providerId="LiveId" clId="{29FA8417-6B0D-46BE-9EC8-FD3689C05EF9}" dt="2023-04-21T08:57:06.386" v="3882" actId="478"/>
          <ac:spMkLst>
            <pc:docMk/>
            <pc:sldMk cId="453638290" sldId="1595"/>
            <ac:spMk id="5" creationId="{04FA107E-9F2E-F721-6EFE-B96656EF1DFB}"/>
          </ac:spMkLst>
        </pc:spChg>
        <pc:spChg chg="add mod">
          <ac:chgData name="Dominik Buchegger" userId="7f2052fac20aabcc" providerId="LiveId" clId="{29FA8417-6B0D-46BE-9EC8-FD3689C05EF9}" dt="2023-04-21T09:10:47.073" v="5171" actId="1076"/>
          <ac:spMkLst>
            <pc:docMk/>
            <pc:sldMk cId="453638290" sldId="1595"/>
            <ac:spMk id="7" creationId="{9E981DBD-E503-4FE3-ECDD-DAA9BED59FBE}"/>
          </ac:spMkLst>
        </pc:spChg>
        <pc:spChg chg="add del mod">
          <ac:chgData name="Dominik Buchegger" userId="7f2052fac20aabcc" providerId="LiveId" clId="{29FA8417-6B0D-46BE-9EC8-FD3689C05EF9}" dt="2023-04-21T09:01:46.669" v="4471" actId="478"/>
          <ac:spMkLst>
            <pc:docMk/>
            <pc:sldMk cId="453638290" sldId="1595"/>
            <ac:spMk id="8" creationId="{5C5C7BBB-95DE-5684-23DE-03E0333B10A6}"/>
          </ac:spMkLst>
        </pc:spChg>
        <pc:spChg chg="add mod">
          <ac:chgData name="Dominik Buchegger" userId="7f2052fac20aabcc" providerId="LiveId" clId="{29FA8417-6B0D-46BE-9EC8-FD3689C05EF9}" dt="2023-04-21T09:20:42.097" v="6361" actId="14100"/>
          <ac:spMkLst>
            <pc:docMk/>
            <pc:sldMk cId="453638290" sldId="1595"/>
            <ac:spMk id="10" creationId="{EBA7C721-26CA-6DA0-C967-CC9C5164D80A}"/>
          </ac:spMkLst>
        </pc:spChg>
        <pc:spChg chg="add del mod">
          <ac:chgData name="Dominik Buchegger" userId="7f2052fac20aabcc" providerId="LiveId" clId="{29FA8417-6B0D-46BE-9EC8-FD3689C05EF9}" dt="2023-04-21T09:47:38.387" v="7812"/>
          <ac:spMkLst>
            <pc:docMk/>
            <pc:sldMk cId="453638290" sldId="1595"/>
            <ac:spMk id="14" creationId="{B58C7C18-D96E-D9AA-A7F5-32F750812FF2}"/>
          </ac:spMkLst>
        </pc:spChg>
        <pc:spChg chg="del mod">
          <ac:chgData name="Dominik Buchegger" userId="7f2052fac20aabcc" providerId="LiveId" clId="{29FA8417-6B0D-46BE-9EC8-FD3689C05EF9}" dt="2023-04-21T09:01:01.801" v="4440" actId="478"/>
          <ac:spMkLst>
            <pc:docMk/>
            <pc:sldMk cId="453638290" sldId="1595"/>
            <ac:spMk id="25" creationId="{1B57FCB3-CB7E-2D20-379A-5CD01A363D23}"/>
          </ac:spMkLst>
        </pc:spChg>
        <pc:graphicFrameChg chg="add mod modGraphic">
          <ac:chgData name="Dominik Buchegger" userId="7f2052fac20aabcc" providerId="LiveId" clId="{29FA8417-6B0D-46BE-9EC8-FD3689C05EF9}" dt="2023-04-21T09:08:32.927" v="5001" actId="403"/>
          <ac:graphicFrameMkLst>
            <pc:docMk/>
            <pc:sldMk cId="453638290" sldId="1595"/>
            <ac:graphicFrameMk id="12" creationId="{0B38AD69-6DF7-2E02-F33D-07ACE710B523}"/>
          </ac:graphicFrameMkLst>
        </pc:graphicFrameChg>
        <pc:graphicFrameChg chg="add del mod">
          <ac:chgData name="Dominik Buchegger" userId="7f2052fac20aabcc" providerId="LiveId" clId="{29FA8417-6B0D-46BE-9EC8-FD3689C05EF9}" dt="2023-04-21T09:08:09.076" v="4971" actId="478"/>
          <ac:graphicFrameMkLst>
            <pc:docMk/>
            <pc:sldMk cId="453638290" sldId="1595"/>
            <ac:graphicFrameMk id="13" creationId="{96878AC7-22FB-6C58-21E8-C3E1F80AC311}"/>
          </ac:graphicFrameMkLst>
        </pc:graphicFrameChg>
        <pc:picChg chg="del">
          <ac:chgData name="Dominik Buchegger" userId="7f2052fac20aabcc" providerId="LiveId" clId="{29FA8417-6B0D-46BE-9EC8-FD3689C05EF9}" dt="2023-04-21T08:50:32.679" v="3330" actId="478"/>
          <ac:picMkLst>
            <pc:docMk/>
            <pc:sldMk cId="453638290" sldId="1595"/>
            <ac:picMk id="2052" creationId="{6B29614E-D22D-4E07-4214-E480708F2419}"/>
          </ac:picMkLst>
        </pc:picChg>
        <pc:picChg chg="del">
          <ac:chgData name="Dominik Buchegger" userId="7f2052fac20aabcc" providerId="LiveId" clId="{29FA8417-6B0D-46BE-9EC8-FD3689C05EF9}" dt="2023-04-21T08:50:31.786" v="3329" actId="478"/>
          <ac:picMkLst>
            <pc:docMk/>
            <pc:sldMk cId="453638290" sldId="1595"/>
            <ac:picMk id="2053" creationId="{65AEC993-BCD1-E441-C454-DCDB0B47930A}"/>
          </ac:picMkLst>
        </pc:picChg>
        <pc:picChg chg="del">
          <ac:chgData name="Dominik Buchegger" userId="7f2052fac20aabcc" providerId="LiveId" clId="{29FA8417-6B0D-46BE-9EC8-FD3689C05EF9}" dt="2023-04-21T08:55:38.988" v="3858" actId="478"/>
          <ac:picMkLst>
            <pc:docMk/>
            <pc:sldMk cId="453638290" sldId="1595"/>
            <ac:picMk id="2054" creationId="{4614EBAF-5D77-AEE9-0A18-AF2ADDB479B9}"/>
          </ac:picMkLst>
        </pc:picChg>
        <pc:picChg chg="add mod">
          <ac:chgData name="Dominik Buchegger" userId="7f2052fac20aabcc" providerId="LiveId" clId="{29FA8417-6B0D-46BE-9EC8-FD3689C05EF9}" dt="2023-04-21T09:01:36.088" v="4468" actId="1076"/>
          <ac:picMkLst>
            <pc:docMk/>
            <pc:sldMk cId="453638290" sldId="1595"/>
            <ac:picMk id="4097" creationId="{19A9146A-C2AD-6F06-9E50-9831687B4BF6}"/>
          </ac:picMkLst>
        </pc:picChg>
      </pc:sldChg>
      <pc:sldChg chg="addSp delSp modSp add mod ord">
        <pc:chgData name="Dominik Buchegger" userId="7f2052fac20aabcc" providerId="LiveId" clId="{29FA8417-6B0D-46BE-9EC8-FD3689C05EF9}" dt="2023-04-21T09:35:03.594" v="7325" actId="20577"/>
        <pc:sldMkLst>
          <pc:docMk/>
          <pc:sldMk cId="3358356206" sldId="1596"/>
        </pc:sldMkLst>
        <pc:spChg chg="mod">
          <ac:chgData name="Dominik Buchegger" userId="7f2052fac20aabcc" providerId="LiveId" clId="{29FA8417-6B0D-46BE-9EC8-FD3689C05EF9}" dt="2023-04-21T09:21:26.553" v="6386" actId="20577"/>
          <ac:spMkLst>
            <pc:docMk/>
            <pc:sldMk cId="3358356206" sldId="1596"/>
            <ac:spMk id="2" creationId="{73CA2C2F-1575-93F0-2DFE-10F8702441CD}"/>
          </ac:spMkLst>
        </pc:spChg>
        <pc:spChg chg="add del mod">
          <ac:chgData name="Dominik Buchegger" userId="7f2052fac20aabcc" providerId="LiveId" clId="{29FA8417-6B0D-46BE-9EC8-FD3689C05EF9}" dt="2023-04-21T09:35:03.594" v="7325" actId="20577"/>
          <ac:spMkLst>
            <pc:docMk/>
            <pc:sldMk cId="3358356206" sldId="1596"/>
            <ac:spMk id="5" creationId="{04FA107E-9F2E-F721-6EFE-B96656EF1DFB}"/>
          </ac:spMkLst>
        </pc:spChg>
        <pc:spChg chg="add del mod">
          <ac:chgData name="Dominik Buchegger" userId="7f2052fac20aabcc" providerId="LiveId" clId="{29FA8417-6B0D-46BE-9EC8-FD3689C05EF9}" dt="2023-04-21T09:21:35.451" v="6388" actId="478"/>
          <ac:spMkLst>
            <pc:docMk/>
            <pc:sldMk cId="3358356206" sldId="1596"/>
            <ac:spMk id="7" creationId="{97ABEBED-2499-BA71-C0D8-1C01D82AA374}"/>
          </ac:spMkLst>
        </pc:spChg>
        <pc:spChg chg="add del mod">
          <ac:chgData name="Dominik Buchegger" userId="7f2052fac20aabcc" providerId="LiveId" clId="{29FA8417-6B0D-46BE-9EC8-FD3689C05EF9}" dt="2023-04-21T09:22:07.428" v="6499" actId="478"/>
          <ac:spMkLst>
            <pc:docMk/>
            <pc:sldMk cId="3358356206" sldId="1596"/>
            <ac:spMk id="9" creationId="{2C11E9F4-AA48-51C0-8FF5-64986E1BB378}"/>
          </ac:spMkLst>
        </pc:spChg>
        <pc:spChg chg="add mod">
          <ac:chgData name="Dominik Buchegger" userId="7f2052fac20aabcc" providerId="LiveId" clId="{29FA8417-6B0D-46BE-9EC8-FD3689C05EF9}" dt="2023-04-21T09:22:35.495" v="6512" actId="122"/>
          <ac:spMkLst>
            <pc:docMk/>
            <pc:sldMk cId="3358356206" sldId="1596"/>
            <ac:spMk id="12" creationId="{65F7200B-1D81-7BFA-0F50-7370AF35AE12}"/>
          </ac:spMkLst>
        </pc:spChg>
        <pc:spChg chg="add del mod">
          <ac:chgData name="Dominik Buchegger" userId="7f2052fac20aabcc" providerId="LiveId" clId="{29FA8417-6B0D-46BE-9EC8-FD3689C05EF9}" dt="2023-04-21T09:31:45.302" v="6905" actId="478"/>
          <ac:spMkLst>
            <pc:docMk/>
            <pc:sldMk cId="3358356206" sldId="1596"/>
            <ac:spMk id="16" creationId="{D1F2476D-97FC-E94D-8207-B7CD062271C7}"/>
          </ac:spMkLst>
        </pc:spChg>
        <pc:spChg chg="add del mod">
          <ac:chgData name="Dominik Buchegger" userId="7f2052fac20aabcc" providerId="LiveId" clId="{29FA8417-6B0D-46BE-9EC8-FD3689C05EF9}" dt="2023-04-21T09:32:38.991" v="7000" actId="478"/>
          <ac:spMkLst>
            <pc:docMk/>
            <pc:sldMk cId="3358356206" sldId="1596"/>
            <ac:spMk id="17" creationId="{F49E33E2-485C-377C-108C-F0DC54FC126C}"/>
          </ac:spMkLst>
        </pc:spChg>
        <pc:spChg chg="del">
          <ac:chgData name="Dominik Buchegger" userId="7f2052fac20aabcc" providerId="LiveId" clId="{29FA8417-6B0D-46BE-9EC8-FD3689C05EF9}" dt="2023-04-21T09:21:30.642" v="6387" actId="478"/>
          <ac:spMkLst>
            <pc:docMk/>
            <pc:sldMk cId="3358356206" sldId="1596"/>
            <ac:spMk id="25" creationId="{1B57FCB3-CB7E-2D20-379A-5CD01A363D23}"/>
          </ac:spMkLst>
        </pc:spChg>
        <pc:graphicFrameChg chg="add mod modGraphic">
          <ac:chgData name="Dominik Buchegger" userId="7f2052fac20aabcc" providerId="LiveId" clId="{29FA8417-6B0D-46BE-9EC8-FD3689C05EF9}" dt="2023-04-21T09:29:49.646" v="6801" actId="207"/>
          <ac:graphicFrameMkLst>
            <pc:docMk/>
            <pc:sldMk cId="3358356206" sldId="1596"/>
            <ac:graphicFrameMk id="13" creationId="{61705B24-82ED-4D1D-50AB-9F2C2AA740E3}"/>
          </ac:graphicFrameMkLst>
        </pc:graphicFrameChg>
        <pc:picChg chg="add mod ord modCrop">
          <ac:chgData name="Dominik Buchegger" userId="7f2052fac20aabcc" providerId="LiveId" clId="{29FA8417-6B0D-46BE-9EC8-FD3689C05EF9}" dt="2023-04-21T09:33:36.923" v="7078" actId="732"/>
          <ac:picMkLst>
            <pc:docMk/>
            <pc:sldMk cId="3358356206" sldId="1596"/>
            <ac:picMk id="14" creationId="{88F30B77-F717-34FA-C64B-12CC5DAE5AE5}"/>
          </ac:picMkLst>
        </pc:picChg>
        <pc:picChg chg="add del mod">
          <ac:chgData name="Dominik Buchegger" userId="7f2052fac20aabcc" providerId="LiveId" clId="{29FA8417-6B0D-46BE-9EC8-FD3689C05EF9}" dt="2023-04-21T09:30:40.815" v="6865" actId="478"/>
          <ac:picMkLst>
            <pc:docMk/>
            <pc:sldMk cId="3358356206" sldId="1596"/>
            <ac:picMk id="15" creationId="{E650174E-1D1A-A6AC-FCBC-F2F339A5319D}"/>
          </ac:picMkLst>
        </pc:picChg>
        <pc:picChg chg="add mod">
          <ac:chgData name="Dominik Buchegger" userId="7f2052fac20aabcc" providerId="LiveId" clId="{29FA8417-6B0D-46BE-9EC8-FD3689C05EF9}" dt="2023-04-21T09:33:44.237" v="7084" actId="1038"/>
          <ac:picMkLst>
            <pc:docMk/>
            <pc:sldMk cId="3358356206" sldId="1596"/>
            <ac:picMk id="5121" creationId="{49599B8C-06B5-8178-EDEA-EB706E0A3084}"/>
          </ac:picMkLst>
        </pc:picChg>
      </pc:sldChg>
      <pc:sldChg chg="addSp modSp add ord">
        <pc:chgData name="Dominik Buchegger" userId="7f2052fac20aabcc" providerId="LiveId" clId="{29FA8417-6B0D-46BE-9EC8-FD3689C05EF9}" dt="2023-04-21T09:47:44.714" v="7814"/>
        <pc:sldMkLst>
          <pc:docMk/>
          <pc:sldMk cId="374148858" sldId="1597"/>
        </pc:sldMkLst>
        <pc:spChg chg="add mod">
          <ac:chgData name="Dominik Buchegger" userId="7f2052fac20aabcc" providerId="LiveId" clId="{29FA8417-6B0D-46BE-9EC8-FD3689C05EF9}" dt="2023-04-21T09:47:44.714" v="7814"/>
          <ac:spMkLst>
            <pc:docMk/>
            <pc:sldMk cId="374148858" sldId="1597"/>
            <ac:spMk id="3" creationId="{624C9EA3-AED0-B53E-114B-0F2F30F0F4A9}"/>
          </ac:spMkLst>
        </pc:spChg>
      </pc:sldChg>
      <pc:sldChg chg="addSp modSp add">
        <pc:chgData name="Dominik Buchegger" userId="7f2052fac20aabcc" providerId="LiveId" clId="{29FA8417-6B0D-46BE-9EC8-FD3689C05EF9}" dt="2023-04-21T09:47:46.237" v="7815"/>
        <pc:sldMkLst>
          <pc:docMk/>
          <pc:sldMk cId="2342333774" sldId="1598"/>
        </pc:sldMkLst>
        <pc:spChg chg="add mod">
          <ac:chgData name="Dominik Buchegger" userId="7f2052fac20aabcc" providerId="LiveId" clId="{29FA8417-6B0D-46BE-9EC8-FD3689C05EF9}" dt="2023-04-21T09:47:46.237" v="7815"/>
          <ac:spMkLst>
            <pc:docMk/>
            <pc:sldMk cId="2342333774" sldId="1598"/>
            <ac:spMk id="3" creationId="{D2C1BB89-90DC-6A17-0FF5-FDF0273350BC}"/>
          </ac:spMkLst>
        </pc:spChg>
      </pc:sldChg>
      <pc:sldChg chg="add del">
        <pc:chgData name="Dominik Buchegger" userId="7f2052fac20aabcc" providerId="LiveId" clId="{29FA8417-6B0D-46BE-9EC8-FD3689C05EF9}" dt="2023-04-21T09:38:32.873" v="7407"/>
        <pc:sldMkLst>
          <pc:docMk/>
          <pc:sldMk cId="1308438632" sldId="1599"/>
        </pc:sldMkLst>
      </pc:sldChg>
      <pc:sldChg chg="addSp delSp modSp add mod">
        <pc:chgData name="Dominik Buchegger" userId="7f2052fac20aabcc" providerId="LiveId" clId="{29FA8417-6B0D-46BE-9EC8-FD3689C05EF9}" dt="2023-04-21T09:48:51.841" v="7847"/>
        <pc:sldMkLst>
          <pc:docMk/>
          <pc:sldMk cId="2096652361" sldId="1599"/>
        </pc:sldMkLst>
        <pc:spChg chg="mod">
          <ac:chgData name="Dominik Buchegger" userId="7f2052fac20aabcc" providerId="LiveId" clId="{29FA8417-6B0D-46BE-9EC8-FD3689C05EF9}" dt="2023-04-21T09:48:26.358" v="7834" actId="20577"/>
          <ac:spMkLst>
            <pc:docMk/>
            <pc:sldMk cId="2096652361" sldId="1599"/>
            <ac:spMk id="2" creationId="{A8994F40-D352-A095-BEEF-56879E3E8A0D}"/>
          </ac:spMkLst>
        </pc:spChg>
        <pc:spChg chg="del">
          <ac:chgData name="Dominik Buchegger" userId="7f2052fac20aabcc" providerId="LiveId" clId="{29FA8417-6B0D-46BE-9EC8-FD3689C05EF9}" dt="2023-04-21T09:48:32.319" v="7841" actId="478"/>
          <ac:spMkLst>
            <pc:docMk/>
            <pc:sldMk cId="2096652361" sldId="1599"/>
            <ac:spMk id="8" creationId="{8472D671-EB77-31C8-D05D-7E352528D82A}"/>
          </ac:spMkLst>
        </pc:spChg>
        <pc:spChg chg="del">
          <ac:chgData name="Dominik Buchegger" userId="7f2052fac20aabcc" providerId="LiveId" clId="{29FA8417-6B0D-46BE-9EC8-FD3689C05EF9}" dt="2023-04-21T09:48:40.310" v="7844" actId="478"/>
          <ac:spMkLst>
            <pc:docMk/>
            <pc:sldMk cId="2096652361" sldId="1599"/>
            <ac:spMk id="9" creationId="{F056C4EA-75FC-BCC3-49A5-5FF0DDA8912C}"/>
          </ac:spMkLst>
        </pc:spChg>
        <pc:spChg chg="del">
          <ac:chgData name="Dominik Buchegger" userId="7f2052fac20aabcc" providerId="LiveId" clId="{29FA8417-6B0D-46BE-9EC8-FD3689C05EF9}" dt="2023-04-21T09:48:40.310" v="7844" actId="478"/>
          <ac:spMkLst>
            <pc:docMk/>
            <pc:sldMk cId="2096652361" sldId="1599"/>
            <ac:spMk id="10" creationId="{C7B77C2B-1711-3C3F-5FBB-CFA5368B4796}"/>
          </ac:spMkLst>
        </pc:spChg>
        <pc:spChg chg="del">
          <ac:chgData name="Dominik Buchegger" userId="7f2052fac20aabcc" providerId="LiveId" clId="{29FA8417-6B0D-46BE-9EC8-FD3689C05EF9}" dt="2023-04-21T09:48:36.539" v="7842" actId="478"/>
          <ac:spMkLst>
            <pc:docMk/>
            <pc:sldMk cId="2096652361" sldId="1599"/>
            <ac:spMk id="11" creationId="{F96F2022-5E0E-925E-8AA0-1510FF5DAE36}"/>
          </ac:spMkLst>
        </pc:spChg>
        <pc:spChg chg="mod">
          <ac:chgData name="Dominik Buchegger" userId="7f2052fac20aabcc" providerId="LiveId" clId="{29FA8417-6B0D-46BE-9EC8-FD3689C05EF9}" dt="2023-04-21T09:48:29.730" v="7840" actId="20577"/>
          <ac:spMkLst>
            <pc:docMk/>
            <pc:sldMk cId="2096652361" sldId="1599"/>
            <ac:spMk id="12" creationId="{627B0D6E-A451-875C-AE33-F5487A1F84F9}"/>
          </ac:spMkLst>
        </pc:spChg>
        <pc:spChg chg="del">
          <ac:chgData name="Dominik Buchegger" userId="7f2052fac20aabcc" providerId="LiveId" clId="{29FA8417-6B0D-46BE-9EC8-FD3689C05EF9}" dt="2023-04-21T09:48:36.539" v="7842" actId="478"/>
          <ac:spMkLst>
            <pc:docMk/>
            <pc:sldMk cId="2096652361" sldId="1599"/>
            <ac:spMk id="13" creationId="{C4EE6948-2BF1-1ACB-3227-4AB3BC87C0CB}"/>
          </ac:spMkLst>
        </pc:spChg>
        <pc:spChg chg="del">
          <ac:chgData name="Dominik Buchegger" userId="7f2052fac20aabcc" providerId="LiveId" clId="{29FA8417-6B0D-46BE-9EC8-FD3689C05EF9}" dt="2023-04-21T09:48:36.539" v="7842" actId="478"/>
          <ac:spMkLst>
            <pc:docMk/>
            <pc:sldMk cId="2096652361" sldId="1599"/>
            <ac:spMk id="14" creationId="{8BB0BBE9-0698-4573-E6BF-CA1CC5CAC5CA}"/>
          </ac:spMkLst>
        </pc:spChg>
        <pc:spChg chg="del">
          <ac:chgData name="Dominik Buchegger" userId="7f2052fac20aabcc" providerId="LiveId" clId="{29FA8417-6B0D-46BE-9EC8-FD3689C05EF9}" dt="2023-04-21T09:48:36.539" v="7842" actId="478"/>
          <ac:spMkLst>
            <pc:docMk/>
            <pc:sldMk cId="2096652361" sldId="1599"/>
            <ac:spMk id="15" creationId="{8A9178AC-4B6A-23D3-CF37-6B0A9DFCAB6A}"/>
          </ac:spMkLst>
        </pc:spChg>
        <pc:spChg chg="del">
          <ac:chgData name="Dominik Buchegger" userId="7f2052fac20aabcc" providerId="LiveId" clId="{29FA8417-6B0D-46BE-9EC8-FD3689C05EF9}" dt="2023-04-21T09:48:36.539" v="7842" actId="478"/>
          <ac:spMkLst>
            <pc:docMk/>
            <pc:sldMk cId="2096652361" sldId="1599"/>
            <ac:spMk id="16" creationId="{B610507F-51AB-8511-7D7E-A43DA38C12CA}"/>
          </ac:spMkLst>
        </pc:spChg>
        <pc:spChg chg="del">
          <ac:chgData name="Dominik Buchegger" userId="7f2052fac20aabcc" providerId="LiveId" clId="{29FA8417-6B0D-46BE-9EC8-FD3689C05EF9}" dt="2023-04-21T09:48:36.539" v="7842" actId="478"/>
          <ac:spMkLst>
            <pc:docMk/>
            <pc:sldMk cId="2096652361" sldId="1599"/>
            <ac:spMk id="17" creationId="{D0065009-C9FD-4A68-C2D1-B69C3FA90338}"/>
          </ac:spMkLst>
        </pc:spChg>
        <pc:spChg chg="del">
          <ac:chgData name="Dominik Buchegger" userId="7f2052fac20aabcc" providerId="LiveId" clId="{29FA8417-6B0D-46BE-9EC8-FD3689C05EF9}" dt="2023-04-21T09:48:36.539" v="7842" actId="478"/>
          <ac:spMkLst>
            <pc:docMk/>
            <pc:sldMk cId="2096652361" sldId="1599"/>
            <ac:spMk id="18" creationId="{7E730E6B-36F1-5E19-3213-79A75ABC5637}"/>
          </ac:spMkLst>
        </pc:spChg>
        <pc:spChg chg="del">
          <ac:chgData name="Dominik Buchegger" userId="7f2052fac20aabcc" providerId="LiveId" clId="{29FA8417-6B0D-46BE-9EC8-FD3689C05EF9}" dt="2023-04-21T09:48:38.455" v="7843" actId="478"/>
          <ac:spMkLst>
            <pc:docMk/>
            <pc:sldMk cId="2096652361" sldId="1599"/>
            <ac:spMk id="19" creationId="{1939AFED-BA47-CCD9-8410-0CF75203DD0E}"/>
          </ac:spMkLst>
        </pc:spChg>
        <pc:grpChg chg="add mod">
          <ac:chgData name="Dominik Buchegger" userId="7f2052fac20aabcc" providerId="LiveId" clId="{29FA8417-6B0D-46BE-9EC8-FD3689C05EF9}" dt="2023-04-21T09:48:51.841" v="7847"/>
          <ac:grpSpMkLst>
            <pc:docMk/>
            <pc:sldMk cId="2096652361" sldId="1599"/>
            <ac:grpSpMk id="6" creationId="{026767E8-91C7-5FC3-33E8-F9C332BBC9CE}"/>
          </ac:grpSpMkLst>
        </pc:grpChg>
        <pc:grpChg chg="add mod">
          <ac:chgData name="Dominik Buchegger" userId="7f2052fac20aabcc" providerId="LiveId" clId="{29FA8417-6B0D-46BE-9EC8-FD3689C05EF9}" dt="2023-04-21T09:48:51.841" v="7847"/>
          <ac:grpSpMkLst>
            <pc:docMk/>
            <pc:sldMk cId="2096652361" sldId="1599"/>
            <ac:grpSpMk id="22" creationId="{499D54FC-6C94-853E-0886-A2644509E90B}"/>
          </ac:grpSpMkLst>
        </pc:grpChg>
        <pc:picChg chg="add mod">
          <ac:chgData name="Dominik Buchegger" userId="7f2052fac20aabcc" providerId="LiveId" clId="{29FA8417-6B0D-46BE-9EC8-FD3689C05EF9}" dt="2023-04-21T09:48:43.493" v="7845"/>
          <ac:picMkLst>
            <pc:docMk/>
            <pc:sldMk cId="2096652361" sldId="1599"/>
            <ac:picMk id="3" creationId="{64877D37-2A69-4FA8-517C-3BB8135982B6}"/>
          </ac:picMkLst>
        </pc:picChg>
        <pc:picChg chg="del">
          <ac:chgData name="Dominik Buchegger" userId="7f2052fac20aabcc" providerId="LiveId" clId="{29FA8417-6B0D-46BE-9EC8-FD3689C05EF9}" dt="2023-04-21T09:48:40.310" v="7844" actId="478"/>
          <ac:picMkLst>
            <pc:docMk/>
            <pc:sldMk cId="2096652361" sldId="1599"/>
            <ac:picMk id="5" creationId="{6441A946-2241-C06D-2C7D-97AE0C05766F}"/>
          </ac:picMkLst>
        </pc:picChg>
        <pc:inkChg chg="mod">
          <ac:chgData name="Dominik Buchegger" userId="7f2052fac20aabcc" providerId="LiveId" clId="{29FA8417-6B0D-46BE-9EC8-FD3689C05EF9}" dt="2023-04-21T09:48:51.841" v="7847"/>
          <ac:inkMkLst>
            <pc:docMk/>
            <pc:sldMk cId="2096652361" sldId="1599"/>
            <ac:inkMk id="7" creationId="{C8929F57-20B3-0C36-44E5-792BABE210BE}"/>
          </ac:inkMkLst>
        </pc:inkChg>
        <pc:inkChg chg="mod">
          <ac:chgData name="Dominik Buchegger" userId="7f2052fac20aabcc" providerId="LiveId" clId="{29FA8417-6B0D-46BE-9EC8-FD3689C05EF9}" dt="2023-04-21T09:48:51.841" v="7847"/>
          <ac:inkMkLst>
            <pc:docMk/>
            <pc:sldMk cId="2096652361" sldId="1599"/>
            <ac:inkMk id="20" creationId="{4E12E849-36E3-85A0-FFE0-56FF7524275C}"/>
          </ac:inkMkLst>
        </pc:inkChg>
        <pc:inkChg chg="mod">
          <ac:chgData name="Dominik Buchegger" userId="7f2052fac20aabcc" providerId="LiveId" clId="{29FA8417-6B0D-46BE-9EC8-FD3689C05EF9}" dt="2023-04-21T09:48:51.841" v="7847"/>
          <ac:inkMkLst>
            <pc:docMk/>
            <pc:sldMk cId="2096652361" sldId="1599"/>
            <ac:inkMk id="21" creationId="{14F5B2DB-4BB8-3D32-68BC-9EE5EE6A7A01}"/>
          </ac:inkMkLst>
        </pc:inkChg>
        <pc:inkChg chg="mod">
          <ac:chgData name="Dominik Buchegger" userId="7f2052fac20aabcc" providerId="LiveId" clId="{29FA8417-6B0D-46BE-9EC8-FD3689C05EF9}" dt="2023-04-21T09:48:51.841" v="7847"/>
          <ac:inkMkLst>
            <pc:docMk/>
            <pc:sldMk cId="2096652361" sldId="1599"/>
            <ac:inkMk id="23" creationId="{D7E78CED-2BAB-E4CD-FA6D-F46CFFFB4F57}"/>
          </ac:inkMkLst>
        </pc:inkChg>
        <pc:inkChg chg="mod">
          <ac:chgData name="Dominik Buchegger" userId="7f2052fac20aabcc" providerId="LiveId" clId="{29FA8417-6B0D-46BE-9EC8-FD3689C05EF9}" dt="2023-04-21T09:48:51.841" v="7847"/>
          <ac:inkMkLst>
            <pc:docMk/>
            <pc:sldMk cId="2096652361" sldId="1599"/>
            <ac:inkMk id="24" creationId="{48436F2B-68B3-901E-4149-D8DA52132056}"/>
          </ac:inkMkLst>
        </pc:inkChg>
        <pc:inkChg chg="add mod">
          <ac:chgData name="Dominik Buchegger" userId="7f2052fac20aabcc" providerId="LiveId" clId="{29FA8417-6B0D-46BE-9EC8-FD3689C05EF9}" dt="2023-04-21T09:48:51.841" v="7847"/>
          <ac:inkMkLst>
            <pc:docMk/>
            <pc:sldMk cId="2096652361" sldId="1599"/>
            <ac:inkMk id="25" creationId="{77F7FD70-E4B7-59B3-E299-86AAB81082AA}"/>
          </ac:inkMkLst>
        </pc:inkChg>
        <pc:inkChg chg="add mod">
          <ac:chgData name="Dominik Buchegger" userId="7f2052fac20aabcc" providerId="LiveId" clId="{29FA8417-6B0D-46BE-9EC8-FD3689C05EF9}" dt="2023-04-21T09:48:51.841" v="7847"/>
          <ac:inkMkLst>
            <pc:docMk/>
            <pc:sldMk cId="2096652361" sldId="1599"/>
            <ac:inkMk id="26" creationId="{6F94416E-6BA4-6532-8012-B85CC19D5BC1}"/>
          </ac:inkMkLst>
        </pc:inkChg>
        <pc:inkChg chg="add mod">
          <ac:chgData name="Dominik Buchegger" userId="7f2052fac20aabcc" providerId="LiveId" clId="{29FA8417-6B0D-46BE-9EC8-FD3689C05EF9}" dt="2023-04-21T09:48:51.841" v="7847"/>
          <ac:inkMkLst>
            <pc:docMk/>
            <pc:sldMk cId="2096652361" sldId="1599"/>
            <ac:inkMk id="27" creationId="{AD435190-026D-42AE-1FC9-BEEC5636CD59}"/>
          </ac:inkMkLst>
        </pc:inkChg>
        <pc:inkChg chg="add mod">
          <ac:chgData name="Dominik Buchegger" userId="7f2052fac20aabcc" providerId="LiveId" clId="{29FA8417-6B0D-46BE-9EC8-FD3689C05EF9}" dt="2023-04-21T09:48:51.841" v="7847"/>
          <ac:inkMkLst>
            <pc:docMk/>
            <pc:sldMk cId="2096652361" sldId="1599"/>
            <ac:inkMk id="28" creationId="{B4F475B3-A72B-8F6D-41C3-0EBB79186DF0}"/>
          </ac:inkMkLst>
        </pc:inkChg>
      </pc:sldChg>
      <pc:sldChg chg="addSp delSp modSp add mod">
        <pc:chgData name="Dominik Buchegger" userId="7f2052fac20aabcc" providerId="LiveId" clId="{29FA8417-6B0D-46BE-9EC8-FD3689C05EF9}" dt="2023-04-21T09:50:35.984" v="7911" actId="1076"/>
        <pc:sldMkLst>
          <pc:docMk/>
          <pc:sldMk cId="2700115944" sldId="1600"/>
        </pc:sldMkLst>
        <pc:spChg chg="mod">
          <ac:chgData name="Dominik Buchegger" userId="7f2052fac20aabcc" providerId="LiveId" clId="{29FA8417-6B0D-46BE-9EC8-FD3689C05EF9}" dt="2023-04-21T09:50:07.413" v="7902" actId="20577"/>
          <ac:spMkLst>
            <pc:docMk/>
            <pc:sldMk cId="2700115944" sldId="1600"/>
            <ac:spMk id="2" creationId="{A8994F40-D352-A095-BEEF-56879E3E8A0D}"/>
          </ac:spMkLst>
        </pc:spChg>
        <pc:spChg chg="add mod">
          <ac:chgData name="Dominik Buchegger" userId="7f2052fac20aabcc" providerId="LiveId" clId="{29FA8417-6B0D-46BE-9EC8-FD3689C05EF9}" dt="2023-04-21T09:50:35.984" v="7911" actId="1076"/>
          <ac:spMkLst>
            <pc:docMk/>
            <pc:sldMk cId="2700115944" sldId="1600"/>
            <ac:spMk id="6" creationId="{5C81DED3-8C17-262B-F85B-8AA6257D42FB}"/>
          </ac:spMkLst>
        </pc:spChg>
        <pc:spChg chg="del">
          <ac:chgData name="Dominik Buchegger" userId="7f2052fac20aabcc" providerId="LiveId" clId="{29FA8417-6B0D-46BE-9EC8-FD3689C05EF9}" dt="2023-04-21T09:50:09.517" v="7903" actId="478"/>
          <ac:spMkLst>
            <pc:docMk/>
            <pc:sldMk cId="2700115944" sldId="1600"/>
            <ac:spMk id="8" creationId="{8472D671-EB77-31C8-D05D-7E352528D82A}"/>
          </ac:spMkLst>
        </pc:spChg>
        <pc:spChg chg="del">
          <ac:chgData name="Dominik Buchegger" userId="7f2052fac20aabcc" providerId="LiveId" clId="{29FA8417-6B0D-46BE-9EC8-FD3689C05EF9}" dt="2023-04-21T09:50:22.157" v="7908" actId="478"/>
          <ac:spMkLst>
            <pc:docMk/>
            <pc:sldMk cId="2700115944" sldId="1600"/>
            <ac:spMk id="9" creationId="{F056C4EA-75FC-BCC3-49A5-5FF0DDA8912C}"/>
          </ac:spMkLst>
        </pc:spChg>
        <pc:spChg chg="del">
          <ac:chgData name="Dominik Buchegger" userId="7f2052fac20aabcc" providerId="LiveId" clId="{29FA8417-6B0D-46BE-9EC8-FD3689C05EF9}" dt="2023-04-21T09:50:11.372" v="7904" actId="478"/>
          <ac:spMkLst>
            <pc:docMk/>
            <pc:sldMk cId="2700115944" sldId="1600"/>
            <ac:spMk id="10" creationId="{C7B77C2B-1711-3C3F-5FBB-CFA5368B4796}"/>
          </ac:spMkLst>
        </pc:spChg>
        <pc:spChg chg="del">
          <ac:chgData name="Dominik Buchegger" userId="7f2052fac20aabcc" providerId="LiveId" clId="{29FA8417-6B0D-46BE-9EC8-FD3689C05EF9}" dt="2023-04-21T09:50:14.901" v="7906" actId="478"/>
          <ac:spMkLst>
            <pc:docMk/>
            <pc:sldMk cId="2700115944" sldId="1600"/>
            <ac:spMk id="11" creationId="{F96F2022-5E0E-925E-8AA0-1510FF5DAE36}"/>
          </ac:spMkLst>
        </pc:spChg>
        <pc:spChg chg="del">
          <ac:chgData name="Dominik Buchegger" userId="7f2052fac20aabcc" providerId="LiveId" clId="{29FA8417-6B0D-46BE-9EC8-FD3689C05EF9}" dt="2023-04-21T09:50:14.901" v="7906" actId="478"/>
          <ac:spMkLst>
            <pc:docMk/>
            <pc:sldMk cId="2700115944" sldId="1600"/>
            <ac:spMk id="13" creationId="{C4EE6948-2BF1-1ACB-3227-4AB3BC87C0CB}"/>
          </ac:spMkLst>
        </pc:spChg>
        <pc:spChg chg="del">
          <ac:chgData name="Dominik Buchegger" userId="7f2052fac20aabcc" providerId="LiveId" clId="{29FA8417-6B0D-46BE-9EC8-FD3689C05EF9}" dt="2023-04-21T09:50:14.901" v="7906" actId="478"/>
          <ac:spMkLst>
            <pc:docMk/>
            <pc:sldMk cId="2700115944" sldId="1600"/>
            <ac:spMk id="14" creationId="{8BB0BBE9-0698-4573-E6BF-CA1CC5CAC5CA}"/>
          </ac:spMkLst>
        </pc:spChg>
        <pc:spChg chg="del">
          <ac:chgData name="Dominik Buchegger" userId="7f2052fac20aabcc" providerId="LiveId" clId="{29FA8417-6B0D-46BE-9EC8-FD3689C05EF9}" dt="2023-04-21T09:50:14.901" v="7906" actId="478"/>
          <ac:spMkLst>
            <pc:docMk/>
            <pc:sldMk cId="2700115944" sldId="1600"/>
            <ac:spMk id="15" creationId="{8A9178AC-4B6A-23D3-CF37-6B0A9DFCAB6A}"/>
          </ac:spMkLst>
        </pc:spChg>
        <pc:spChg chg="del">
          <ac:chgData name="Dominik Buchegger" userId="7f2052fac20aabcc" providerId="LiveId" clId="{29FA8417-6B0D-46BE-9EC8-FD3689C05EF9}" dt="2023-04-21T09:50:14.901" v="7906" actId="478"/>
          <ac:spMkLst>
            <pc:docMk/>
            <pc:sldMk cId="2700115944" sldId="1600"/>
            <ac:spMk id="16" creationId="{B610507F-51AB-8511-7D7E-A43DA38C12CA}"/>
          </ac:spMkLst>
        </pc:spChg>
        <pc:spChg chg="del">
          <ac:chgData name="Dominik Buchegger" userId="7f2052fac20aabcc" providerId="LiveId" clId="{29FA8417-6B0D-46BE-9EC8-FD3689C05EF9}" dt="2023-04-21T09:50:14.901" v="7906" actId="478"/>
          <ac:spMkLst>
            <pc:docMk/>
            <pc:sldMk cId="2700115944" sldId="1600"/>
            <ac:spMk id="17" creationId="{D0065009-C9FD-4A68-C2D1-B69C3FA90338}"/>
          </ac:spMkLst>
        </pc:spChg>
        <pc:spChg chg="del">
          <ac:chgData name="Dominik Buchegger" userId="7f2052fac20aabcc" providerId="LiveId" clId="{29FA8417-6B0D-46BE-9EC8-FD3689C05EF9}" dt="2023-04-21T09:50:14.901" v="7906" actId="478"/>
          <ac:spMkLst>
            <pc:docMk/>
            <pc:sldMk cId="2700115944" sldId="1600"/>
            <ac:spMk id="18" creationId="{7E730E6B-36F1-5E19-3213-79A75ABC5637}"/>
          </ac:spMkLst>
        </pc:spChg>
        <pc:spChg chg="del">
          <ac:chgData name="Dominik Buchegger" userId="7f2052fac20aabcc" providerId="LiveId" clId="{29FA8417-6B0D-46BE-9EC8-FD3689C05EF9}" dt="2023-04-21T09:50:14.901" v="7906" actId="478"/>
          <ac:spMkLst>
            <pc:docMk/>
            <pc:sldMk cId="2700115944" sldId="1600"/>
            <ac:spMk id="19" creationId="{1939AFED-BA47-CCD9-8410-0CF75203DD0E}"/>
          </ac:spMkLst>
        </pc:spChg>
        <pc:picChg chg="add mod">
          <ac:chgData name="Dominik Buchegger" userId="7f2052fac20aabcc" providerId="LiveId" clId="{29FA8417-6B0D-46BE-9EC8-FD3689C05EF9}" dt="2023-04-21T09:50:26.117" v="7909" actId="1076"/>
          <ac:picMkLst>
            <pc:docMk/>
            <pc:sldMk cId="2700115944" sldId="1600"/>
            <ac:picMk id="3" creationId="{2AAB5D47-FFD5-4CFF-0D4B-5D63CF5BE97F}"/>
          </ac:picMkLst>
        </pc:picChg>
        <pc:picChg chg="del">
          <ac:chgData name="Dominik Buchegger" userId="7f2052fac20aabcc" providerId="LiveId" clId="{29FA8417-6B0D-46BE-9EC8-FD3689C05EF9}" dt="2023-04-21T09:50:12.264" v="7905" actId="478"/>
          <ac:picMkLst>
            <pc:docMk/>
            <pc:sldMk cId="2700115944" sldId="1600"/>
            <ac:picMk id="5" creationId="{6441A946-2241-C06D-2C7D-97AE0C05766F}"/>
          </ac:picMkLst>
        </pc:picChg>
      </pc:sldChg>
      <pc:sldChg chg="addSp delSp modSp add del mod">
        <pc:chgData name="Dominik Buchegger" userId="7f2052fac20aabcc" providerId="LiveId" clId="{29FA8417-6B0D-46BE-9EC8-FD3689C05EF9}" dt="2023-04-21T09:51:17.534" v="7938" actId="47"/>
        <pc:sldMkLst>
          <pc:docMk/>
          <pc:sldMk cId="1814859726" sldId="1601"/>
        </pc:sldMkLst>
        <pc:spChg chg="mod">
          <ac:chgData name="Dominik Buchegger" userId="7f2052fac20aabcc" providerId="LiveId" clId="{29FA8417-6B0D-46BE-9EC8-FD3689C05EF9}" dt="2023-04-21T09:50:46.530" v="7931" actId="20577"/>
          <ac:spMkLst>
            <pc:docMk/>
            <pc:sldMk cId="1814859726" sldId="1601"/>
            <ac:spMk id="2" creationId="{A8994F40-D352-A095-BEEF-56879E3E8A0D}"/>
          </ac:spMkLst>
        </pc:spChg>
        <pc:spChg chg="del">
          <ac:chgData name="Dominik Buchegger" userId="7f2052fac20aabcc" providerId="LiveId" clId="{29FA8417-6B0D-46BE-9EC8-FD3689C05EF9}" dt="2023-04-21T09:50:49.372" v="7932" actId="478"/>
          <ac:spMkLst>
            <pc:docMk/>
            <pc:sldMk cId="1814859726" sldId="1601"/>
            <ac:spMk id="6" creationId="{5C81DED3-8C17-262B-F85B-8AA6257D42FB}"/>
          </ac:spMkLst>
        </pc:spChg>
        <pc:grpChg chg="add mod">
          <ac:chgData name="Dominik Buchegger" userId="7f2052fac20aabcc" providerId="LiveId" clId="{29FA8417-6B0D-46BE-9EC8-FD3689C05EF9}" dt="2023-04-21T09:50:57.478" v="7934"/>
          <ac:grpSpMkLst>
            <pc:docMk/>
            <pc:sldMk cId="1814859726" sldId="1601"/>
            <ac:grpSpMk id="14" creationId="{A3642453-7194-BA7D-1D5F-ACBEF5A23000}"/>
          </ac:grpSpMkLst>
        </pc:grpChg>
        <pc:grpChg chg="add mod">
          <ac:chgData name="Dominik Buchegger" userId="7f2052fac20aabcc" providerId="LiveId" clId="{29FA8417-6B0D-46BE-9EC8-FD3689C05EF9}" dt="2023-04-21T09:50:57.478" v="7934"/>
          <ac:grpSpMkLst>
            <pc:docMk/>
            <pc:sldMk cId="1814859726" sldId="1601"/>
            <ac:grpSpMk id="17" creationId="{C586E03C-D6DF-F7E7-0F15-9C50DC8C7D7F}"/>
          </ac:grpSpMkLst>
        </pc:grpChg>
        <pc:picChg chg="del">
          <ac:chgData name="Dominik Buchegger" userId="7f2052fac20aabcc" providerId="LiveId" clId="{29FA8417-6B0D-46BE-9EC8-FD3689C05EF9}" dt="2023-04-21T09:50:50.221" v="7933" actId="478"/>
          <ac:picMkLst>
            <pc:docMk/>
            <pc:sldMk cId="1814859726" sldId="1601"/>
            <ac:picMk id="3" creationId="{2AAB5D47-FFD5-4CFF-0D4B-5D63CF5BE97F}"/>
          </ac:picMkLst>
        </pc:picChg>
        <pc:picChg chg="add mod">
          <ac:chgData name="Dominik Buchegger" userId="7f2052fac20aabcc" providerId="LiveId" clId="{29FA8417-6B0D-46BE-9EC8-FD3689C05EF9}" dt="2023-04-21T09:50:57.478" v="7934"/>
          <ac:picMkLst>
            <pc:docMk/>
            <pc:sldMk cId="1814859726" sldId="1601"/>
            <ac:picMk id="5" creationId="{5C87C1AD-5BFD-71A5-DB5A-78176AE4E6B6}"/>
          </ac:picMkLst>
        </pc:picChg>
        <pc:inkChg chg="add mod">
          <ac:chgData name="Dominik Buchegger" userId="7f2052fac20aabcc" providerId="LiveId" clId="{29FA8417-6B0D-46BE-9EC8-FD3689C05EF9}" dt="2023-04-21T09:50:57.478" v="7934"/>
          <ac:inkMkLst>
            <pc:docMk/>
            <pc:sldMk cId="1814859726" sldId="1601"/>
            <ac:inkMk id="7" creationId="{0556F08D-FC67-D873-70D1-C1C96AA33D27}"/>
          </ac:inkMkLst>
        </pc:inkChg>
        <pc:inkChg chg="add mod">
          <ac:chgData name="Dominik Buchegger" userId="7f2052fac20aabcc" providerId="LiveId" clId="{29FA8417-6B0D-46BE-9EC8-FD3689C05EF9}" dt="2023-04-21T09:50:57.478" v="7934"/>
          <ac:inkMkLst>
            <pc:docMk/>
            <pc:sldMk cId="1814859726" sldId="1601"/>
            <ac:inkMk id="8" creationId="{713647A6-D7C5-F8B3-9020-FC61EF706C30}"/>
          </ac:inkMkLst>
        </pc:inkChg>
        <pc:inkChg chg="add mod">
          <ac:chgData name="Dominik Buchegger" userId="7f2052fac20aabcc" providerId="LiveId" clId="{29FA8417-6B0D-46BE-9EC8-FD3689C05EF9}" dt="2023-04-21T09:50:57.478" v="7934"/>
          <ac:inkMkLst>
            <pc:docMk/>
            <pc:sldMk cId="1814859726" sldId="1601"/>
            <ac:inkMk id="9" creationId="{07A353F1-F19B-1D89-795C-EA8EF2E83953}"/>
          </ac:inkMkLst>
        </pc:inkChg>
        <pc:inkChg chg="add mod">
          <ac:chgData name="Dominik Buchegger" userId="7f2052fac20aabcc" providerId="LiveId" clId="{29FA8417-6B0D-46BE-9EC8-FD3689C05EF9}" dt="2023-04-21T09:50:57.478" v="7934"/>
          <ac:inkMkLst>
            <pc:docMk/>
            <pc:sldMk cId="1814859726" sldId="1601"/>
            <ac:inkMk id="10" creationId="{77EE8EB9-F49F-C96E-20FE-526F46803068}"/>
          </ac:inkMkLst>
        </pc:inkChg>
        <pc:inkChg chg="add mod">
          <ac:chgData name="Dominik Buchegger" userId="7f2052fac20aabcc" providerId="LiveId" clId="{29FA8417-6B0D-46BE-9EC8-FD3689C05EF9}" dt="2023-04-21T09:50:57.478" v="7934"/>
          <ac:inkMkLst>
            <pc:docMk/>
            <pc:sldMk cId="1814859726" sldId="1601"/>
            <ac:inkMk id="11" creationId="{265F1D88-D3E5-3BB4-1E62-6ABE5B70A582}"/>
          </ac:inkMkLst>
        </pc:inkChg>
        <pc:inkChg chg="add mod">
          <ac:chgData name="Dominik Buchegger" userId="7f2052fac20aabcc" providerId="LiveId" clId="{29FA8417-6B0D-46BE-9EC8-FD3689C05EF9}" dt="2023-04-21T09:50:57.478" v="7934"/>
          <ac:inkMkLst>
            <pc:docMk/>
            <pc:sldMk cId="1814859726" sldId="1601"/>
            <ac:inkMk id="13" creationId="{45B2EE51-6BC5-FBD9-92E7-827E1725BCC1}"/>
          </ac:inkMkLst>
        </pc:inkChg>
        <pc:inkChg chg="mod">
          <ac:chgData name="Dominik Buchegger" userId="7f2052fac20aabcc" providerId="LiveId" clId="{29FA8417-6B0D-46BE-9EC8-FD3689C05EF9}" dt="2023-04-21T09:50:57.478" v="7934"/>
          <ac:inkMkLst>
            <pc:docMk/>
            <pc:sldMk cId="1814859726" sldId="1601"/>
            <ac:inkMk id="15" creationId="{2B101259-E116-21FC-CB60-B85EE697FAE5}"/>
          </ac:inkMkLst>
        </pc:inkChg>
        <pc:inkChg chg="mod">
          <ac:chgData name="Dominik Buchegger" userId="7f2052fac20aabcc" providerId="LiveId" clId="{29FA8417-6B0D-46BE-9EC8-FD3689C05EF9}" dt="2023-04-21T09:50:57.478" v="7934"/>
          <ac:inkMkLst>
            <pc:docMk/>
            <pc:sldMk cId="1814859726" sldId="1601"/>
            <ac:inkMk id="16" creationId="{6568CBFE-1F98-45E2-3BF9-506EBA1066AF}"/>
          </ac:inkMkLst>
        </pc:inkChg>
        <pc:inkChg chg="mod">
          <ac:chgData name="Dominik Buchegger" userId="7f2052fac20aabcc" providerId="LiveId" clId="{29FA8417-6B0D-46BE-9EC8-FD3689C05EF9}" dt="2023-04-21T09:50:57.478" v="7934"/>
          <ac:inkMkLst>
            <pc:docMk/>
            <pc:sldMk cId="1814859726" sldId="1601"/>
            <ac:inkMk id="18" creationId="{DC80B4F0-379B-731D-7BB4-CEF44BA220C6}"/>
          </ac:inkMkLst>
        </pc:inkChg>
        <pc:inkChg chg="mod">
          <ac:chgData name="Dominik Buchegger" userId="7f2052fac20aabcc" providerId="LiveId" clId="{29FA8417-6B0D-46BE-9EC8-FD3689C05EF9}" dt="2023-04-21T09:50:57.478" v="7934"/>
          <ac:inkMkLst>
            <pc:docMk/>
            <pc:sldMk cId="1814859726" sldId="1601"/>
            <ac:inkMk id="19" creationId="{56EE24A0-C225-7A43-AF9F-D04C763582F1}"/>
          </ac:inkMkLst>
        </pc:inkChg>
      </pc:sldChg>
    </pc:docChg>
  </pc:docChgLst>
  <pc:docChgLst>
    <pc:chgData name="Dominik Buchegger" userId="4419538d-6150-464b-ac11-eb0323261855" providerId="ADAL" clId="{3A5385FA-2927-41A7-B50F-70EB4A945491}"/>
    <pc:docChg chg="undo redo custSel addSld delSld modSld sldOrd">
      <pc:chgData name="Dominik Buchegger" userId="4419538d-6150-464b-ac11-eb0323261855" providerId="ADAL" clId="{3A5385FA-2927-41A7-B50F-70EB4A945491}" dt="2023-03-27T14:19:00.986" v="4834" actId="20577"/>
      <pc:docMkLst>
        <pc:docMk/>
      </pc:docMkLst>
      <pc:sldChg chg="modSp mod">
        <pc:chgData name="Dominik Buchegger" userId="4419538d-6150-464b-ac11-eb0323261855" providerId="ADAL" clId="{3A5385FA-2927-41A7-B50F-70EB4A945491}" dt="2023-03-27T11:46:10.271" v="1284" actId="20577"/>
        <pc:sldMkLst>
          <pc:docMk/>
          <pc:sldMk cId="1700766504" sldId="1464"/>
        </pc:sldMkLst>
        <pc:spChg chg="mod">
          <ac:chgData name="Dominik Buchegger" userId="4419538d-6150-464b-ac11-eb0323261855" providerId="ADAL" clId="{3A5385FA-2927-41A7-B50F-70EB4A945491}" dt="2023-03-27T11:46:10.271" v="1284" actId="20577"/>
          <ac:spMkLst>
            <pc:docMk/>
            <pc:sldMk cId="1700766504" sldId="1464"/>
            <ac:spMk id="2" creationId="{C36256A2-67B2-CA01-7417-6A9C17C6B307}"/>
          </ac:spMkLst>
        </pc:spChg>
      </pc:sldChg>
      <pc:sldChg chg="modSp mod">
        <pc:chgData name="Dominik Buchegger" userId="4419538d-6150-464b-ac11-eb0323261855" providerId="ADAL" clId="{3A5385FA-2927-41A7-B50F-70EB4A945491}" dt="2023-03-27T11:45:10.492" v="1274" actId="20577"/>
        <pc:sldMkLst>
          <pc:docMk/>
          <pc:sldMk cId="1961197189" sldId="1536"/>
        </pc:sldMkLst>
        <pc:spChg chg="mod">
          <ac:chgData name="Dominik Buchegger" userId="4419538d-6150-464b-ac11-eb0323261855" providerId="ADAL" clId="{3A5385FA-2927-41A7-B50F-70EB4A945491}" dt="2023-03-27T11:33:30.016" v="45" actId="13926"/>
          <ac:spMkLst>
            <pc:docMk/>
            <pc:sldMk cId="1961197189" sldId="1536"/>
            <ac:spMk id="2" creationId="{3DA0A8C0-B1E8-3F31-A07C-2F18EDEC2F6C}"/>
          </ac:spMkLst>
        </pc:spChg>
        <pc:spChg chg="mod">
          <ac:chgData name="Dominik Buchegger" userId="4419538d-6150-464b-ac11-eb0323261855" providerId="ADAL" clId="{3A5385FA-2927-41A7-B50F-70EB4A945491}" dt="2023-03-27T11:42:46.008" v="819" actId="20577"/>
          <ac:spMkLst>
            <pc:docMk/>
            <pc:sldMk cId="1961197189" sldId="1536"/>
            <ac:spMk id="3" creationId="{F036C38E-F14A-85CC-362E-9729B06BABDA}"/>
          </ac:spMkLst>
        </pc:spChg>
        <pc:spChg chg="mod">
          <ac:chgData name="Dominik Buchegger" userId="4419538d-6150-464b-ac11-eb0323261855" providerId="ADAL" clId="{3A5385FA-2927-41A7-B50F-70EB4A945491}" dt="2023-03-27T11:43:39.059" v="919" actId="20577"/>
          <ac:spMkLst>
            <pc:docMk/>
            <pc:sldMk cId="1961197189" sldId="1536"/>
            <ac:spMk id="4" creationId="{B64A5F54-A6A0-8266-1C5D-4A7FA80439F2}"/>
          </ac:spMkLst>
        </pc:spChg>
        <pc:spChg chg="mod">
          <ac:chgData name="Dominik Buchegger" userId="4419538d-6150-464b-ac11-eb0323261855" providerId="ADAL" clId="{3A5385FA-2927-41A7-B50F-70EB4A945491}" dt="2023-03-27T11:36:58.966" v="149" actId="20577"/>
          <ac:spMkLst>
            <pc:docMk/>
            <pc:sldMk cId="1961197189" sldId="1536"/>
            <ac:spMk id="7" creationId="{8546A905-FE63-2F1B-4705-512B212C2777}"/>
          </ac:spMkLst>
        </pc:spChg>
        <pc:spChg chg="mod">
          <ac:chgData name="Dominik Buchegger" userId="4419538d-6150-464b-ac11-eb0323261855" providerId="ADAL" clId="{3A5385FA-2927-41A7-B50F-70EB4A945491}" dt="2023-03-27T11:37:02.214" v="157" actId="20577"/>
          <ac:spMkLst>
            <pc:docMk/>
            <pc:sldMk cId="1961197189" sldId="1536"/>
            <ac:spMk id="8" creationId="{569F879F-462B-A60C-FE68-BB16A8BD73C8}"/>
          </ac:spMkLst>
        </pc:spChg>
        <pc:spChg chg="mod">
          <ac:chgData name="Dominik Buchegger" userId="4419538d-6150-464b-ac11-eb0323261855" providerId="ADAL" clId="{3A5385FA-2927-41A7-B50F-70EB4A945491}" dt="2023-03-27T11:45:10.492" v="1274" actId="20577"/>
          <ac:spMkLst>
            <pc:docMk/>
            <pc:sldMk cId="1961197189" sldId="1536"/>
            <ac:spMk id="9" creationId="{D1DDF268-1C02-C1C4-CB03-A0B2700D8D5C}"/>
          </ac:spMkLst>
        </pc:spChg>
      </pc:sldChg>
      <pc:sldChg chg="add del">
        <pc:chgData name="Dominik Buchegger" userId="4419538d-6150-464b-ac11-eb0323261855" providerId="ADAL" clId="{3A5385FA-2927-41A7-B50F-70EB4A945491}" dt="2023-03-27T11:29:21.090" v="3"/>
        <pc:sldMkLst>
          <pc:docMk/>
          <pc:sldMk cId="3597719166" sldId="1538"/>
        </pc:sldMkLst>
      </pc:sldChg>
      <pc:sldChg chg="addSp delSp modSp add del mod">
        <pc:chgData name="Dominik Buchegger" userId="4419538d-6150-464b-ac11-eb0323261855" providerId="ADAL" clId="{3A5385FA-2927-41A7-B50F-70EB4A945491}" dt="2023-03-27T14:07:33.480" v="4740" actId="11529"/>
        <pc:sldMkLst>
          <pc:docMk/>
          <pc:sldMk cId="3806684549" sldId="1539"/>
        </pc:sldMkLst>
        <pc:spChg chg="add del mod">
          <ac:chgData name="Dominik Buchegger" userId="4419538d-6150-464b-ac11-eb0323261855" providerId="ADAL" clId="{3A5385FA-2927-41A7-B50F-70EB4A945491}" dt="2023-03-27T14:07:33.480" v="4740" actId="11529"/>
          <ac:spMkLst>
            <pc:docMk/>
            <pc:sldMk cId="3806684549" sldId="1539"/>
            <ac:spMk id="5" creationId="{417A6533-5825-F745-D104-33ED711B3976}"/>
          </ac:spMkLst>
        </pc:spChg>
        <pc:spChg chg="add del mod">
          <ac:chgData name="Dominik Buchegger" userId="4419538d-6150-464b-ac11-eb0323261855" providerId="ADAL" clId="{3A5385FA-2927-41A7-B50F-70EB4A945491}" dt="2023-03-27T14:07:31.574" v="4735" actId="767"/>
          <ac:spMkLst>
            <pc:docMk/>
            <pc:sldMk cId="3806684549" sldId="1539"/>
            <ac:spMk id="6" creationId="{7CC0AC57-BA25-AD9B-4EAB-21E33D395720}"/>
          </ac:spMkLst>
        </pc:spChg>
      </pc:sldChg>
      <pc:sldChg chg="add del">
        <pc:chgData name="Dominik Buchegger" userId="4419538d-6150-464b-ac11-eb0323261855" providerId="ADAL" clId="{3A5385FA-2927-41A7-B50F-70EB4A945491}" dt="2023-03-27T11:29:21.090" v="3"/>
        <pc:sldMkLst>
          <pc:docMk/>
          <pc:sldMk cId="2369170133" sldId="1540"/>
        </pc:sldMkLst>
      </pc:sldChg>
      <pc:sldChg chg="add del">
        <pc:chgData name="Dominik Buchegger" userId="4419538d-6150-464b-ac11-eb0323261855" providerId="ADAL" clId="{3A5385FA-2927-41A7-B50F-70EB4A945491}" dt="2023-03-27T11:29:21.090" v="3"/>
        <pc:sldMkLst>
          <pc:docMk/>
          <pc:sldMk cId="1621850967" sldId="1541"/>
        </pc:sldMkLst>
      </pc:sldChg>
      <pc:sldChg chg="add del">
        <pc:chgData name="Dominik Buchegger" userId="4419538d-6150-464b-ac11-eb0323261855" providerId="ADAL" clId="{3A5385FA-2927-41A7-B50F-70EB4A945491}" dt="2023-03-27T11:29:21.090" v="3"/>
        <pc:sldMkLst>
          <pc:docMk/>
          <pc:sldMk cId="2438703611" sldId="1542"/>
        </pc:sldMkLst>
      </pc:sldChg>
      <pc:sldChg chg="add del">
        <pc:chgData name="Dominik Buchegger" userId="4419538d-6150-464b-ac11-eb0323261855" providerId="ADAL" clId="{3A5385FA-2927-41A7-B50F-70EB4A945491}" dt="2023-03-27T11:29:21.090" v="3"/>
        <pc:sldMkLst>
          <pc:docMk/>
          <pc:sldMk cId="419329577" sldId="1543"/>
        </pc:sldMkLst>
      </pc:sldChg>
      <pc:sldChg chg="add del">
        <pc:chgData name="Dominik Buchegger" userId="4419538d-6150-464b-ac11-eb0323261855" providerId="ADAL" clId="{3A5385FA-2927-41A7-B50F-70EB4A945491}" dt="2023-03-27T11:29:21.090" v="3"/>
        <pc:sldMkLst>
          <pc:docMk/>
          <pc:sldMk cId="4222879851" sldId="1544"/>
        </pc:sldMkLst>
      </pc:sldChg>
      <pc:sldChg chg="add">
        <pc:chgData name="Dominik Buchegger" userId="4419538d-6150-464b-ac11-eb0323261855" providerId="ADAL" clId="{3A5385FA-2927-41A7-B50F-70EB4A945491}" dt="2023-03-27T11:29:21.090" v="3"/>
        <pc:sldMkLst>
          <pc:docMk/>
          <pc:sldMk cId="2768367976" sldId="1545"/>
        </pc:sldMkLst>
      </pc:sldChg>
      <pc:sldChg chg="add">
        <pc:chgData name="Dominik Buchegger" userId="4419538d-6150-464b-ac11-eb0323261855" providerId="ADAL" clId="{3A5385FA-2927-41A7-B50F-70EB4A945491}" dt="2023-03-27T11:29:21.090" v="3"/>
        <pc:sldMkLst>
          <pc:docMk/>
          <pc:sldMk cId="1740970090" sldId="1546"/>
        </pc:sldMkLst>
      </pc:sldChg>
      <pc:sldChg chg="add">
        <pc:chgData name="Dominik Buchegger" userId="4419538d-6150-464b-ac11-eb0323261855" providerId="ADAL" clId="{3A5385FA-2927-41A7-B50F-70EB4A945491}" dt="2023-03-27T11:29:21.090" v="3"/>
        <pc:sldMkLst>
          <pc:docMk/>
          <pc:sldMk cId="1736325031" sldId="1547"/>
        </pc:sldMkLst>
      </pc:sldChg>
      <pc:sldChg chg="add">
        <pc:chgData name="Dominik Buchegger" userId="4419538d-6150-464b-ac11-eb0323261855" providerId="ADAL" clId="{3A5385FA-2927-41A7-B50F-70EB4A945491}" dt="2023-03-27T11:29:21.090" v="3"/>
        <pc:sldMkLst>
          <pc:docMk/>
          <pc:sldMk cId="43038557" sldId="1548"/>
        </pc:sldMkLst>
      </pc:sldChg>
      <pc:sldChg chg="modSp add mod">
        <pc:chgData name="Dominik Buchegger" userId="4419538d-6150-464b-ac11-eb0323261855" providerId="ADAL" clId="{3A5385FA-2927-41A7-B50F-70EB4A945491}" dt="2023-03-27T14:19:00.986" v="4834" actId="20577"/>
        <pc:sldMkLst>
          <pc:docMk/>
          <pc:sldMk cId="2745610101" sldId="1549"/>
        </pc:sldMkLst>
        <pc:spChg chg="mod">
          <ac:chgData name="Dominik Buchegger" userId="4419538d-6150-464b-ac11-eb0323261855" providerId="ADAL" clId="{3A5385FA-2927-41A7-B50F-70EB4A945491}" dt="2023-03-27T14:17:24.851" v="4785" actId="20577"/>
          <ac:spMkLst>
            <pc:docMk/>
            <pc:sldMk cId="2745610101" sldId="1549"/>
            <ac:spMk id="3" creationId="{966B1E45-49F0-A4EB-6659-C1DDEB74AA93}"/>
          </ac:spMkLst>
        </pc:spChg>
        <pc:spChg chg="mod">
          <ac:chgData name="Dominik Buchegger" userId="4419538d-6150-464b-ac11-eb0323261855" providerId="ADAL" clId="{3A5385FA-2927-41A7-B50F-70EB4A945491}" dt="2023-03-27T14:19:00.986" v="4834" actId="20577"/>
          <ac:spMkLst>
            <pc:docMk/>
            <pc:sldMk cId="2745610101" sldId="1549"/>
            <ac:spMk id="4" creationId="{F994C3DF-BBCB-15D0-C03D-6A2B1818E066}"/>
          </ac:spMkLst>
        </pc:spChg>
      </pc:sldChg>
      <pc:sldChg chg="modSp add mod">
        <pc:chgData name="Dominik Buchegger" userId="4419538d-6150-464b-ac11-eb0323261855" providerId="ADAL" clId="{3A5385FA-2927-41A7-B50F-70EB4A945491}" dt="2023-03-27T14:16:21.756" v="4743" actId="1076"/>
        <pc:sldMkLst>
          <pc:docMk/>
          <pc:sldMk cId="3563998885" sldId="1550"/>
        </pc:sldMkLst>
        <pc:spChg chg="mod">
          <ac:chgData name="Dominik Buchegger" userId="4419538d-6150-464b-ac11-eb0323261855" providerId="ADAL" clId="{3A5385FA-2927-41A7-B50F-70EB4A945491}" dt="2023-03-27T14:13:50.530" v="4742" actId="20577"/>
          <ac:spMkLst>
            <pc:docMk/>
            <pc:sldMk cId="3563998885" sldId="1550"/>
            <ac:spMk id="3" creationId="{D7658107-1FB5-276C-EB2E-D46D75E998CE}"/>
          </ac:spMkLst>
        </pc:spChg>
        <pc:picChg chg="mod">
          <ac:chgData name="Dominik Buchegger" userId="4419538d-6150-464b-ac11-eb0323261855" providerId="ADAL" clId="{3A5385FA-2927-41A7-B50F-70EB4A945491}" dt="2023-03-27T14:16:21.756" v="4743" actId="1076"/>
          <ac:picMkLst>
            <pc:docMk/>
            <pc:sldMk cId="3563998885" sldId="1550"/>
            <ac:picMk id="10" creationId="{F0B8278C-00E4-CBC8-8C4A-97E3B14AA466}"/>
          </ac:picMkLst>
        </pc:picChg>
      </pc:sldChg>
      <pc:sldChg chg="add">
        <pc:chgData name="Dominik Buchegger" userId="4419538d-6150-464b-ac11-eb0323261855" providerId="ADAL" clId="{3A5385FA-2927-41A7-B50F-70EB4A945491}" dt="2023-03-27T11:29:21.090" v="3"/>
        <pc:sldMkLst>
          <pc:docMk/>
          <pc:sldMk cId="3555160724" sldId="1551"/>
        </pc:sldMkLst>
      </pc:sldChg>
      <pc:sldChg chg="modSp new mod">
        <pc:chgData name="Dominik Buchegger" userId="4419538d-6150-464b-ac11-eb0323261855" providerId="ADAL" clId="{3A5385FA-2927-41A7-B50F-70EB4A945491}" dt="2023-03-27T11:45:47.144" v="1281" actId="13926"/>
        <pc:sldMkLst>
          <pc:docMk/>
          <pc:sldMk cId="2346118516" sldId="1552"/>
        </pc:sldMkLst>
        <pc:spChg chg="mod">
          <ac:chgData name="Dominik Buchegger" userId="4419538d-6150-464b-ac11-eb0323261855" providerId="ADAL" clId="{3A5385FA-2927-41A7-B50F-70EB4A945491}" dt="2023-03-27T11:45:47.144" v="1281" actId="13926"/>
          <ac:spMkLst>
            <pc:docMk/>
            <pc:sldMk cId="2346118516" sldId="1552"/>
            <ac:spMk id="2" creationId="{B136EB2E-E881-C9EB-B410-DC065172056F}"/>
          </ac:spMkLst>
        </pc:spChg>
      </pc:sldChg>
      <pc:sldChg chg="modSp new mod ord">
        <pc:chgData name="Dominik Buchegger" userId="4419538d-6150-464b-ac11-eb0323261855" providerId="ADAL" clId="{3A5385FA-2927-41A7-B50F-70EB4A945491}" dt="2023-03-27T14:04:34.643" v="4695"/>
        <pc:sldMkLst>
          <pc:docMk/>
          <pc:sldMk cId="1138554923" sldId="1553"/>
        </pc:sldMkLst>
        <pc:spChg chg="mod">
          <ac:chgData name="Dominik Buchegger" userId="4419538d-6150-464b-ac11-eb0323261855" providerId="ADAL" clId="{3A5385FA-2927-41A7-B50F-70EB4A945491}" dt="2023-03-27T14:04:30.161" v="4693" actId="20577"/>
          <ac:spMkLst>
            <pc:docMk/>
            <pc:sldMk cId="1138554923" sldId="1553"/>
            <ac:spMk id="2" creationId="{F25B7AA5-AD67-1B4E-E9E8-673B7F2B3A67}"/>
          </ac:spMkLst>
        </pc:spChg>
      </pc:sldChg>
      <pc:sldChg chg="addSp delSp modSp add mod modClrScheme chgLayout">
        <pc:chgData name="Dominik Buchegger" userId="4419538d-6150-464b-ac11-eb0323261855" providerId="ADAL" clId="{3A5385FA-2927-41A7-B50F-70EB4A945491}" dt="2023-03-27T13:57:55.546" v="4163" actId="1076"/>
        <pc:sldMkLst>
          <pc:docMk/>
          <pc:sldMk cId="3200463830" sldId="1554"/>
        </pc:sldMkLst>
        <pc:spChg chg="mod ord">
          <ac:chgData name="Dominik Buchegger" userId="4419538d-6150-464b-ac11-eb0323261855" providerId="ADAL" clId="{3A5385FA-2927-41A7-B50F-70EB4A945491}" dt="2023-03-27T13:31:55.175" v="1676" actId="700"/>
          <ac:spMkLst>
            <pc:docMk/>
            <pc:sldMk cId="3200463830" sldId="1554"/>
            <ac:spMk id="2" creationId="{F25B7AA5-AD67-1B4E-E9E8-673B7F2B3A67}"/>
          </ac:spMkLst>
        </pc:spChg>
        <pc:spChg chg="add del mod ord">
          <ac:chgData name="Dominik Buchegger" userId="4419538d-6150-464b-ac11-eb0323261855" providerId="ADAL" clId="{3A5385FA-2927-41A7-B50F-70EB4A945491}" dt="2023-03-27T13:31:55.175" v="1676" actId="700"/>
          <ac:spMkLst>
            <pc:docMk/>
            <pc:sldMk cId="3200463830" sldId="1554"/>
            <ac:spMk id="3" creationId="{7200AB28-37E6-C58A-6A0C-626DE7F04E04}"/>
          </ac:spMkLst>
        </pc:spChg>
        <pc:spChg chg="mod ord">
          <ac:chgData name="Dominik Buchegger" userId="4419538d-6150-464b-ac11-eb0323261855" providerId="ADAL" clId="{3A5385FA-2927-41A7-B50F-70EB4A945491}" dt="2023-03-27T13:31:55.175" v="1676" actId="700"/>
          <ac:spMkLst>
            <pc:docMk/>
            <pc:sldMk cId="3200463830" sldId="1554"/>
            <ac:spMk id="4" creationId="{1EEC92A0-28FD-493E-6FC4-E2068690FEEB}"/>
          </ac:spMkLst>
        </pc:spChg>
        <pc:spChg chg="del mod ord">
          <ac:chgData name="Dominik Buchegger" userId="4419538d-6150-464b-ac11-eb0323261855" providerId="ADAL" clId="{3A5385FA-2927-41A7-B50F-70EB4A945491}" dt="2023-03-27T13:31:55.175" v="1676" actId="700"/>
          <ac:spMkLst>
            <pc:docMk/>
            <pc:sldMk cId="3200463830" sldId="1554"/>
            <ac:spMk id="5" creationId="{78D9EC6E-10EC-0B45-BE80-0BFEEEBF50E9}"/>
          </ac:spMkLst>
        </pc:spChg>
        <pc:spChg chg="del">
          <ac:chgData name="Dominik Buchegger" userId="4419538d-6150-464b-ac11-eb0323261855" providerId="ADAL" clId="{3A5385FA-2927-41A7-B50F-70EB4A945491}" dt="2023-03-27T13:31:55.175" v="1676" actId="700"/>
          <ac:spMkLst>
            <pc:docMk/>
            <pc:sldMk cId="3200463830" sldId="1554"/>
            <ac:spMk id="6" creationId="{347AE98E-C40A-2C4A-C51C-ED0F6062C144}"/>
          </ac:spMkLst>
        </pc:spChg>
        <pc:spChg chg="del">
          <ac:chgData name="Dominik Buchegger" userId="4419538d-6150-464b-ac11-eb0323261855" providerId="ADAL" clId="{3A5385FA-2927-41A7-B50F-70EB4A945491}" dt="2023-03-27T13:31:55.175" v="1676" actId="700"/>
          <ac:spMkLst>
            <pc:docMk/>
            <pc:sldMk cId="3200463830" sldId="1554"/>
            <ac:spMk id="7" creationId="{48255315-140E-7610-7E00-B17266EFBD05}"/>
          </ac:spMkLst>
        </pc:spChg>
        <pc:spChg chg="add del mod">
          <ac:chgData name="Dominik Buchegger" userId="4419538d-6150-464b-ac11-eb0323261855" providerId="ADAL" clId="{3A5385FA-2927-41A7-B50F-70EB4A945491}" dt="2023-03-27T13:21:20.842" v="1494" actId="1076"/>
          <ac:spMkLst>
            <pc:docMk/>
            <pc:sldMk cId="3200463830" sldId="1554"/>
            <ac:spMk id="15" creationId="{2D14ECEC-FB7A-634A-9DA9-D84202DABF4C}"/>
          </ac:spMkLst>
        </pc:spChg>
        <pc:spChg chg="add mod">
          <ac:chgData name="Dominik Buchegger" userId="4419538d-6150-464b-ac11-eb0323261855" providerId="ADAL" clId="{3A5385FA-2927-41A7-B50F-70EB4A945491}" dt="2023-03-27T13:32:14.800" v="1679" actId="1076"/>
          <ac:spMkLst>
            <pc:docMk/>
            <pc:sldMk cId="3200463830" sldId="1554"/>
            <ac:spMk id="19" creationId="{25D9B379-0D2E-942C-23A5-215EC3922DE0}"/>
          </ac:spMkLst>
        </pc:spChg>
        <pc:spChg chg="add mod">
          <ac:chgData name="Dominik Buchegger" userId="4419538d-6150-464b-ac11-eb0323261855" providerId="ADAL" clId="{3A5385FA-2927-41A7-B50F-70EB4A945491}" dt="2023-03-27T13:32:23.920" v="1680" actId="1076"/>
          <ac:spMkLst>
            <pc:docMk/>
            <pc:sldMk cId="3200463830" sldId="1554"/>
            <ac:spMk id="20" creationId="{E6BBB3EF-6EB1-D350-5E2E-C9ACFCD1C0EF}"/>
          </ac:spMkLst>
        </pc:spChg>
        <pc:spChg chg="add mod">
          <ac:chgData name="Dominik Buchegger" userId="4419538d-6150-464b-ac11-eb0323261855" providerId="ADAL" clId="{3A5385FA-2927-41A7-B50F-70EB4A945491}" dt="2023-03-27T13:32:08.939" v="1678" actId="1076"/>
          <ac:spMkLst>
            <pc:docMk/>
            <pc:sldMk cId="3200463830" sldId="1554"/>
            <ac:spMk id="21" creationId="{305BE22B-96BB-8FDF-3542-EBF39F018E5C}"/>
          </ac:spMkLst>
        </pc:spChg>
        <pc:spChg chg="add mod">
          <ac:chgData name="Dominik Buchegger" userId="4419538d-6150-464b-ac11-eb0323261855" providerId="ADAL" clId="{3A5385FA-2927-41A7-B50F-70EB4A945491}" dt="2023-03-27T13:32:03.565" v="1677" actId="1076"/>
          <ac:spMkLst>
            <pc:docMk/>
            <pc:sldMk cId="3200463830" sldId="1554"/>
            <ac:spMk id="22" creationId="{94593E11-990B-4652-D466-CF833FF6383B}"/>
          </ac:spMkLst>
        </pc:spChg>
        <pc:spChg chg="add mod ord">
          <ac:chgData name="Dominik Buchegger" userId="4419538d-6150-464b-ac11-eb0323261855" providerId="ADAL" clId="{3A5385FA-2927-41A7-B50F-70EB4A945491}" dt="2023-03-27T13:31:55.175" v="1676" actId="700"/>
          <ac:spMkLst>
            <pc:docMk/>
            <pc:sldMk cId="3200463830" sldId="1554"/>
            <ac:spMk id="23" creationId="{AC9183DB-6727-D14C-BD43-1BD2F0559012}"/>
          </ac:spMkLst>
        </pc:spChg>
        <pc:spChg chg="add mod ord">
          <ac:chgData name="Dominik Buchegger" userId="4419538d-6150-464b-ac11-eb0323261855" providerId="ADAL" clId="{3A5385FA-2927-41A7-B50F-70EB4A945491}" dt="2023-03-27T13:31:55.175" v="1676" actId="700"/>
          <ac:spMkLst>
            <pc:docMk/>
            <pc:sldMk cId="3200463830" sldId="1554"/>
            <ac:spMk id="24" creationId="{3AD680B8-D3C5-1D1D-A269-814286E74B55}"/>
          </ac:spMkLst>
        </pc:spChg>
        <pc:spChg chg="add del mod">
          <ac:chgData name="Dominik Buchegger" userId="4419538d-6150-464b-ac11-eb0323261855" providerId="ADAL" clId="{3A5385FA-2927-41A7-B50F-70EB4A945491}" dt="2023-03-27T13:57:48.100" v="4161" actId="21"/>
          <ac:spMkLst>
            <pc:docMk/>
            <pc:sldMk cId="3200463830" sldId="1554"/>
            <ac:spMk id="29" creationId="{DC880925-684B-264F-FFF5-3F504672FB0A}"/>
          </ac:spMkLst>
        </pc:spChg>
        <pc:spChg chg="add mod">
          <ac:chgData name="Dominik Buchegger" userId="4419538d-6150-464b-ac11-eb0323261855" providerId="ADAL" clId="{3A5385FA-2927-41A7-B50F-70EB4A945491}" dt="2023-03-27T13:57:55.546" v="4163" actId="1076"/>
          <ac:spMkLst>
            <pc:docMk/>
            <pc:sldMk cId="3200463830" sldId="1554"/>
            <ac:spMk id="32" creationId="{740FEB54-6F70-0A22-0837-7F35E962D489}"/>
          </ac:spMkLst>
        </pc:spChg>
        <pc:picChg chg="add del mod ord">
          <ac:chgData name="Dominik Buchegger" userId="4419538d-6150-464b-ac11-eb0323261855" providerId="ADAL" clId="{3A5385FA-2927-41A7-B50F-70EB4A945491}" dt="2023-03-27T13:18:36.845" v="1342" actId="22"/>
          <ac:picMkLst>
            <pc:docMk/>
            <pc:sldMk cId="3200463830" sldId="1554"/>
            <ac:picMk id="9" creationId="{1BE85994-6386-25DB-990E-21DCFA5A0A07}"/>
          </ac:picMkLst>
        </pc:picChg>
        <pc:picChg chg="add del mod">
          <ac:chgData name="Dominik Buchegger" userId="4419538d-6150-464b-ac11-eb0323261855" providerId="ADAL" clId="{3A5385FA-2927-41A7-B50F-70EB4A945491}" dt="2023-03-27T13:26:43.743" v="1505" actId="478"/>
          <ac:picMkLst>
            <pc:docMk/>
            <pc:sldMk cId="3200463830" sldId="1554"/>
            <ac:picMk id="11" creationId="{F95B14A9-DCDB-0FA4-B5A2-CBE000813C6D}"/>
          </ac:picMkLst>
        </pc:picChg>
        <pc:picChg chg="add mod">
          <ac:chgData name="Dominik Buchegger" userId="4419538d-6150-464b-ac11-eb0323261855" providerId="ADAL" clId="{3A5385FA-2927-41A7-B50F-70EB4A945491}" dt="2023-03-27T13:21:27.533" v="1499" actId="1035"/>
          <ac:picMkLst>
            <pc:docMk/>
            <pc:sldMk cId="3200463830" sldId="1554"/>
            <ac:picMk id="13" creationId="{50E8CB9B-C4D9-3442-2807-317CC3BCA270}"/>
          </ac:picMkLst>
        </pc:picChg>
        <pc:picChg chg="add del mod">
          <ac:chgData name="Dominik Buchegger" userId="4419538d-6150-464b-ac11-eb0323261855" providerId="ADAL" clId="{3A5385FA-2927-41A7-B50F-70EB4A945491}" dt="2023-03-27T13:20:03.762" v="1358" actId="478"/>
          <ac:picMkLst>
            <pc:docMk/>
            <pc:sldMk cId="3200463830" sldId="1554"/>
            <ac:picMk id="14" creationId="{78198002-F213-F690-F83E-355B635BEEF2}"/>
          </ac:picMkLst>
        </pc:picChg>
        <pc:picChg chg="add del mod modCrop">
          <ac:chgData name="Dominik Buchegger" userId="4419538d-6150-464b-ac11-eb0323261855" providerId="ADAL" clId="{3A5385FA-2927-41A7-B50F-70EB4A945491}" dt="2023-03-27T13:28:22.369" v="1555" actId="478"/>
          <ac:picMkLst>
            <pc:docMk/>
            <pc:sldMk cId="3200463830" sldId="1554"/>
            <ac:picMk id="16" creationId="{15E6029B-34B5-5814-6F22-A235E15FB930}"/>
          </ac:picMkLst>
        </pc:picChg>
        <pc:picChg chg="add mod modCrop">
          <ac:chgData name="Dominik Buchegger" userId="4419538d-6150-464b-ac11-eb0323261855" providerId="ADAL" clId="{3A5385FA-2927-41A7-B50F-70EB4A945491}" dt="2023-03-27T13:32:03.565" v="1677" actId="1076"/>
          <ac:picMkLst>
            <pc:docMk/>
            <pc:sldMk cId="3200463830" sldId="1554"/>
            <ac:picMk id="18" creationId="{5BFC3DED-D966-A2B9-2D0C-C448DE9FDA92}"/>
          </ac:picMkLst>
        </pc:picChg>
        <pc:picChg chg="add del">
          <ac:chgData name="Dominik Buchegger" userId="4419538d-6150-464b-ac11-eb0323261855" providerId="ADAL" clId="{3A5385FA-2927-41A7-B50F-70EB4A945491}" dt="2023-03-27T13:56:17.133" v="4103" actId="22"/>
          <ac:picMkLst>
            <pc:docMk/>
            <pc:sldMk cId="3200463830" sldId="1554"/>
            <ac:picMk id="26" creationId="{36D86A0B-A4B0-E7B6-ABDB-A6381B45FA5B}"/>
          </ac:picMkLst>
        </pc:picChg>
        <pc:picChg chg="add mod">
          <ac:chgData name="Dominik Buchegger" userId="4419538d-6150-464b-ac11-eb0323261855" providerId="ADAL" clId="{3A5385FA-2927-41A7-B50F-70EB4A945491}" dt="2023-03-27T13:57:45.114" v="4159" actId="1076"/>
          <ac:picMkLst>
            <pc:docMk/>
            <pc:sldMk cId="3200463830" sldId="1554"/>
            <ac:picMk id="28" creationId="{707AA842-5CB1-0231-D474-31B7482CFB19}"/>
          </ac:picMkLst>
        </pc:picChg>
        <pc:picChg chg="add mod">
          <ac:chgData name="Dominik Buchegger" userId="4419538d-6150-464b-ac11-eb0323261855" providerId="ADAL" clId="{3A5385FA-2927-41A7-B50F-70EB4A945491}" dt="2023-03-27T13:57:37.512" v="4156" actId="1076"/>
          <ac:picMkLst>
            <pc:docMk/>
            <pc:sldMk cId="3200463830" sldId="1554"/>
            <ac:picMk id="31" creationId="{CAB7143A-4830-6C3C-7F81-BFCCDA5E4E11}"/>
          </ac:picMkLst>
        </pc:picChg>
      </pc:sldChg>
      <pc:sldChg chg="addSp delSp new del mod">
        <pc:chgData name="Dominik Buchegger" userId="4419538d-6150-464b-ac11-eb0323261855" providerId="ADAL" clId="{3A5385FA-2927-41A7-B50F-70EB4A945491}" dt="2023-03-27T14:02:24.524" v="4679" actId="47"/>
        <pc:sldMkLst>
          <pc:docMk/>
          <pc:sldMk cId="847386210" sldId="1555"/>
        </pc:sldMkLst>
        <pc:spChg chg="add del">
          <ac:chgData name="Dominik Buchegger" userId="4419538d-6150-464b-ac11-eb0323261855" providerId="ADAL" clId="{3A5385FA-2927-41A7-B50F-70EB4A945491}" dt="2023-03-27T13:27:20.150" v="1510" actId="21"/>
          <ac:spMkLst>
            <pc:docMk/>
            <pc:sldMk cId="847386210" sldId="1555"/>
            <ac:spMk id="5" creationId="{D65AEE20-E46F-867C-4CB8-E727F8B30B72}"/>
          </ac:spMkLst>
        </pc:spChg>
      </pc:sldChg>
      <pc:sldChg chg="addSp delSp modSp add mod">
        <pc:chgData name="Dominik Buchegger" userId="4419538d-6150-464b-ac11-eb0323261855" providerId="ADAL" clId="{3A5385FA-2927-41A7-B50F-70EB4A945491}" dt="2023-03-27T14:02:18.981" v="4678" actId="1037"/>
        <pc:sldMkLst>
          <pc:docMk/>
          <pc:sldMk cId="1010709420" sldId="1556"/>
        </pc:sldMkLst>
        <pc:spChg chg="mod">
          <ac:chgData name="Dominik Buchegger" userId="4419538d-6150-464b-ac11-eb0323261855" providerId="ADAL" clId="{3A5385FA-2927-41A7-B50F-70EB4A945491}" dt="2023-03-27T13:46:08.282" v="3274" actId="6549"/>
          <ac:spMkLst>
            <pc:docMk/>
            <pc:sldMk cId="1010709420" sldId="1556"/>
            <ac:spMk id="3" creationId="{7200AB28-37E6-C58A-6A0C-626DE7F04E04}"/>
          </ac:spMkLst>
        </pc:spChg>
        <pc:spChg chg="mod">
          <ac:chgData name="Dominik Buchegger" userId="4419538d-6150-464b-ac11-eb0323261855" providerId="ADAL" clId="{3A5385FA-2927-41A7-B50F-70EB4A945491}" dt="2023-03-27T13:54:27.458" v="4097" actId="20577"/>
          <ac:spMkLst>
            <pc:docMk/>
            <pc:sldMk cId="1010709420" sldId="1556"/>
            <ac:spMk id="6" creationId="{347AE98E-C40A-2C4A-C51C-ED0F6062C144}"/>
          </ac:spMkLst>
        </pc:spChg>
        <pc:spChg chg="add mod">
          <ac:chgData name="Dominik Buchegger" userId="4419538d-6150-464b-ac11-eb0323261855" providerId="ADAL" clId="{3A5385FA-2927-41A7-B50F-70EB4A945491}" dt="2023-03-27T13:55:04.544" v="4101" actId="20577"/>
          <ac:spMkLst>
            <pc:docMk/>
            <pc:sldMk cId="1010709420" sldId="1556"/>
            <ac:spMk id="8" creationId="{97E189DF-7CEA-402E-F94F-EBD889DB6B43}"/>
          </ac:spMkLst>
        </pc:spChg>
        <pc:spChg chg="add del mod">
          <ac:chgData name="Dominik Buchegger" userId="4419538d-6150-464b-ac11-eb0323261855" providerId="ADAL" clId="{3A5385FA-2927-41A7-B50F-70EB4A945491}" dt="2023-03-27T13:58:13.095" v="4167"/>
          <ac:spMkLst>
            <pc:docMk/>
            <pc:sldMk cId="1010709420" sldId="1556"/>
            <ac:spMk id="9" creationId="{0B03C8D0-EBCF-48A9-E656-1C57335B5E2B}"/>
          </ac:spMkLst>
        </pc:spChg>
        <pc:spChg chg="add mod">
          <ac:chgData name="Dominik Buchegger" userId="4419538d-6150-464b-ac11-eb0323261855" providerId="ADAL" clId="{3A5385FA-2927-41A7-B50F-70EB4A945491}" dt="2023-03-27T14:00:29.413" v="4365" actId="1076"/>
          <ac:spMkLst>
            <pc:docMk/>
            <pc:sldMk cId="1010709420" sldId="1556"/>
            <ac:spMk id="10" creationId="{628828DB-531D-F991-C229-A549761D9E5B}"/>
          </ac:spMkLst>
        </pc:spChg>
        <pc:spChg chg="add del mod">
          <ac:chgData name="Dominik Buchegger" userId="4419538d-6150-464b-ac11-eb0323261855" providerId="ADAL" clId="{3A5385FA-2927-41A7-B50F-70EB4A945491}" dt="2023-03-27T14:02:18.981" v="4678" actId="1037"/>
          <ac:spMkLst>
            <pc:docMk/>
            <pc:sldMk cId="1010709420" sldId="1556"/>
            <ac:spMk id="15" creationId="{2D14ECEC-FB7A-634A-9DA9-D84202DABF4C}"/>
          </ac:spMkLst>
        </pc:spChg>
        <pc:spChg chg="mod">
          <ac:chgData name="Dominik Buchegger" userId="4419538d-6150-464b-ac11-eb0323261855" providerId="ADAL" clId="{3A5385FA-2927-41A7-B50F-70EB4A945491}" dt="2023-03-27T13:45:12.800" v="3221" actId="1076"/>
          <ac:spMkLst>
            <pc:docMk/>
            <pc:sldMk cId="1010709420" sldId="1556"/>
            <ac:spMk id="19" creationId="{25D9B379-0D2E-942C-23A5-215EC3922DE0}"/>
          </ac:spMkLst>
        </pc:spChg>
        <pc:spChg chg="mod">
          <ac:chgData name="Dominik Buchegger" userId="4419538d-6150-464b-ac11-eb0323261855" providerId="ADAL" clId="{3A5385FA-2927-41A7-B50F-70EB4A945491}" dt="2023-03-27T13:45:12.800" v="3221" actId="1076"/>
          <ac:spMkLst>
            <pc:docMk/>
            <pc:sldMk cId="1010709420" sldId="1556"/>
            <ac:spMk id="20" creationId="{E6BBB3EF-6EB1-D350-5E2E-C9ACFCD1C0EF}"/>
          </ac:spMkLst>
        </pc:spChg>
        <pc:spChg chg="mod">
          <ac:chgData name="Dominik Buchegger" userId="4419538d-6150-464b-ac11-eb0323261855" providerId="ADAL" clId="{3A5385FA-2927-41A7-B50F-70EB4A945491}" dt="2023-03-27T13:45:12.800" v="3221" actId="1076"/>
          <ac:spMkLst>
            <pc:docMk/>
            <pc:sldMk cId="1010709420" sldId="1556"/>
            <ac:spMk id="21" creationId="{305BE22B-96BB-8FDF-3542-EBF39F018E5C}"/>
          </ac:spMkLst>
        </pc:spChg>
        <pc:spChg chg="mod">
          <ac:chgData name="Dominik Buchegger" userId="4419538d-6150-464b-ac11-eb0323261855" providerId="ADAL" clId="{3A5385FA-2927-41A7-B50F-70EB4A945491}" dt="2023-03-27T13:45:12.800" v="3221" actId="1076"/>
          <ac:spMkLst>
            <pc:docMk/>
            <pc:sldMk cId="1010709420" sldId="1556"/>
            <ac:spMk id="22" creationId="{94593E11-990B-4652-D466-CF833FF6383B}"/>
          </ac:spMkLst>
        </pc:spChg>
        <pc:picChg chg="del">
          <ac:chgData name="Dominik Buchegger" userId="4419538d-6150-464b-ac11-eb0323261855" providerId="ADAL" clId="{3A5385FA-2927-41A7-B50F-70EB4A945491}" dt="2023-03-27T13:58:09.084" v="4164" actId="478"/>
          <ac:picMkLst>
            <pc:docMk/>
            <pc:sldMk cId="1010709420" sldId="1556"/>
            <ac:picMk id="13" creationId="{50E8CB9B-C4D9-3442-2807-317CC3BCA270}"/>
          </ac:picMkLst>
        </pc:picChg>
        <pc:picChg chg="del">
          <ac:chgData name="Dominik Buchegger" userId="4419538d-6150-464b-ac11-eb0323261855" providerId="ADAL" clId="{3A5385FA-2927-41A7-B50F-70EB4A945491}" dt="2023-03-27T13:32:27.966" v="1681" actId="478"/>
          <ac:picMkLst>
            <pc:docMk/>
            <pc:sldMk cId="1010709420" sldId="1556"/>
            <ac:picMk id="18" creationId="{5BFC3DED-D966-A2B9-2D0C-C448DE9FDA92}"/>
          </ac:picMkLst>
        </pc:picChg>
      </pc:sldChg>
    </pc:docChg>
  </pc:docChgLst>
  <pc:docChgLst>
    <pc:chgData name="Dominik Buchegger" userId="7f2052fac20aabcc" providerId="LiveId" clId="{8168FD09-3A28-41E9-8064-32E2821D165F}"/>
    <pc:docChg chg="undo redo custSel addSld delSld modSld sldOrd">
      <pc:chgData name="Dominik Buchegger" userId="7f2052fac20aabcc" providerId="LiveId" clId="{8168FD09-3A28-41E9-8064-32E2821D165F}" dt="2023-03-27T08:48:01.497" v="11890" actId="478"/>
      <pc:docMkLst>
        <pc:docMk/>
      </pc:docMkLst>
      <pc:sldChg chg="modSp mod">
        <pc:chgData name="Dominik Buchegger" userId="7f2052fac20aabcc" providerId="LiveId" clId="{8168FD09-3A28-41E9-8064-32E2821D165F}" dt="2023-03-27T06:48:56.633" v="3372" actId="20577"/>
        <pc:sldMkLst>
          <pc:docMk/>
          <pc:sldMk cId="3772496692" sldId="256"/>
        </pc:sldMkLst>
        <pc:spChg chg="mod">
          <ac:chgData name="Dominik Buchegger" userId="7f2052fac20aabcc" providerId="LiveId" clId="{8168FD09-3A28-41E9-8064-32E2821D165F}" dt="2023-03-27T06:48:56.633" v="3372" actId="20577"/>
          <ac:spMkLst>
            <pc:docMk/>
            <pc:sldMk cId="3772496692" sldId="256"/>
            <ac:spMk id="13" creationId="{0C11E479-9B3A-42D2-A07C-80F9E924336D}"/>
          </ac:spMkLst>
        </pc:spChg>
      </pc:sldChg>
      <pc:sldChg chg="modSp add del mod modClrScheme chgLayout">
        <pc:chgData name="Dominik Buchegger" userId="7f2052fac20aabcc" providerId="LiveId" clId="{8168FD09-3A28-41E9-8064-32E2821D165F}" dt="2023-03-27T07:37:13.919" v="6823" actId="47"/>
        <pc:sldMkLst>
          <pc:docMk/>
          <pc:sldMk cId="2015992247" sldId="349"/>
        </pc:sldMkLst>
        <pc:spChg chg="mod ord">
          <ac:chgData name="Dominik Buchegger" userId="7f2052fac20aabcc" providerId="LiveId" clId="{8168FD09-3A28-41E9-8064-32E2821D165F}" dt="2023-03-27T07:28:41.412" v="6033" actId="700"/>
          <ac:spMkLst>
            <pc:docMk/>
            <pc:sldMk cId="2015992247" sldId="349"/>
            <ac:spMk id="2" creationId="{A6A00921-825B-4F01-B434-F18EC92753F3}"/>
          </ac:spMkLst>
        </pc:spChg>
        <pc:spChg chg="mod ord">
          <ac:chgData name="Dominik Buchegger" userId="7f2052fac20aabcc" providerId="LiveId" clId="{8168FD09-3A28-41E9-8064-32E2821D165F}" dt="2023-03-27T07:28:41.412" v="6033" actId="700"/>
          <ac:spMkLst>
            <pc:docMk/>
            <pc:sldMk cId="2015992247" sldId="349"/>
            <ac:spMk id="3" creationId="{389B8201-0CE4-41A5-AC3B-DED7B9E98BD9}"/>
          </ac:spMkLst>
        </pc:spChg>
      </pc:sldChg>
      <pc:sldChg chg="addSp delSp add mod ord modShow">
        <pc:chgData name="Dominik Buchegger" userId="7f2052fac20aabcc" providerId="LiveId" clId="{8168FD09-3A28-41E9-8064-32E2821D165F}" dt="2023-03-27T07:38:15.487" v="6857"/>
        <pc:sldMkLst>
          <pc:docMk/>
          <pc:sldMk cId="3290298821" sldId="350"/>
        </pc:sldMkLst>
        <pc:picChg chg="add del">
          <ac:chgData name="Dominik Buchegger" userId="7f2052fac20aabcc" providerId="LiveId" clId="{8168FD09-3A28-41E9-8064-32E2821D165F}" dt="2023-03-27T07:37:50.624" v="6853" actId="21"/>
          <ac:picMkLst>
            <pc:docMk/>
            <pc:sldMk cId="3290298821" sldId="350"/>
            <ac:picMk id="8" creationId="{E58CB128-690E-402C-94A9-4E0C75504CC6}"/>
          </ac:picMkLst>
        </pc:picChg>
      </pc:sldChg>
      <pc:sldChg chg="add mod ord modShow">
        <pc:chgData name="Dominik Buchegger" userId="7f2052fac20aabcc" providerId="LiveId" clId="{8168FD09-3A28-41E9-8064-32E2821D165F}" dt="2023-03-27T07:38:15.487" v="6857"/>
        <pc:sldMkLst>
          <pc:docMk/>
          <pc:sldMk cId="1428834151" sldId="351"/>
        </pc:sldMkLst>
      </pc:sldChg>
      <pc:sldChg chg="add mod ord modShow">
        <pc:chgData name="Dominik Buchegger" userId="7f2052fac20aabcc" providerId="LiveId" clId="{8168FD09-3A28-41E9-8064-32E2821D165F}" dt="2023-03-27T07:38:15.487" v="6857"/>
        <pc:sldMkLst>
          <pc:docMk/>
          <pc:sldMk cId="4204752891" sldId="352"/>
        </pc:sldMkLst>
      </pc:sldChg>
      <pc:sldChg chg="modSp add del mod">
        <pc:chgData name="Dominik Buchegger" userId="7f2052fac20aabcc" providerId="LiveId" clId="{8168FD09-3A28-41E9-8064-32E2821D165F}" dt="2023-03-27T07:45:33.934" v="7206" actId="47"/>
        <pc:sldMkLst>
          <pc:docMk/>
          <pc:sldMk cId="3628550269" sldId="353"/>
        </pc:sldMkLst>
        <pc:spChg chg="mod">
          <ac:chgData name="Dominik Buchegger" userId="7f2052fac20aabcc" providerId="LiveId" clId="{8168FD09-3A28-41E9-8064-32E2821D165F}" dt="2023-03-27T07:38:23.416" v="6858" actId="21"/>
          <ac:spMkLst>
            <pc:docMk/>
            <pc:sldMk cId="3628550269" sldId="353"/>
            <ac:spMk id="2" creationId="{A6A00921-825B-4F01-B434-F18EC92753F3}"/>
          </ac:spMkLst>
        </pc:spChg>
      </pc:sldChg>
      <pc:sldChg chg="add ord">
        <pc:chgData name="Dominik Buchegger" userId="7f2052fac20aabcc" providerId="LiveId" clId="{8168FD09-3A28-41E9-8064-32E2821D165F}" dt="2023-03-27T07:46:43.261" v="7227"/>
        <pc:sldMkLst>
          <pc:docMk/>
          <pc:sldMk cId="2170744712" sldId="354"/>
        </pc:sldMkLst>
      </pc:sldChg>
      <pc:sldChg chg="add del">
        <pc:chgData name="Dominik Buchegger" userId="7f2052fac20aabcc" providerId="LiveId" clId="{8168FD09-3A28-41E9-8064-32E2821D165F}" dt="2023-03-27T07:49:43.404" v="7558" actId="47"/>
        <pc:sldMkLst>
          <pc:docMk/>
          <pc:sldMk cId="3549736062" sldId="355"/>
        </pc:sldMkLst>
      </pc:sldChg>
      <pc:sldChg chg="addSp delSp modSp add del mod">
        <pc:chgData name="Dominik Buchegger" userId="7f2052fac20aabcc" providerId="LiveId" clId="{8168FD09-3A28-41E9-8064-32E2821D165F}" dt="2023-03-27T08:02:54.601" v="8099" actId="47"/>
        <pc:sldMkLst>
          <pc:docMk/>
          <pc:sldMk cId="1764373368" sldId="356"/>
        </pc:sldMkLst>
        <pc:picChg chg="add del mod">
          <ac:chgData name="Dominik Buchegger" userId="7f2052fac20aabcc" providerId="LiveId" clId="{8168FD09-3A28-41E9-8064-32E2821D165F}" dt="2023-03-27T07:53:58.381" v="7860" actId="21"/>
          <ac:picMkLst>
            <pc:docMk/>
            <pc:sldMk cId="1764373368" sldId="356"/>
            <ac:picMk id="4" creationId="{BDB188EE-CB49-E9FA-205B-FB199F580E26}"/>
          </ac:picMkLst>
        </pc:picChg>
        <pc:picChg chg="del">
          <ac:chgData name="Dominik Buchegger" userId="7f2052fac20aabcc" providerId="LiveId" clId="{8168FD09-3A28-41E9-8064-32E2821D165F}" dt="2023-03-27T07:51:42.771" v="7673" actId="478"/>
          <ac:picMkLst>
            <pc:docMk/>
            <pc:sldMk cId="1764373368" sldId="356"/>
            <ac:picMk id="6" creationId="{BC13B76F-2DB6-45E2-811B-76B92E63B450}"/>
          </ac:picMkLst>
        </pc:picChg>
        <pc:picChg chg="add del mod">
          <ac:chgData name="Dominik Buchegger" userId="7f2052fac20aabcc" providerId="LiveId" clId="{8168FD09-3A28-41E9-8064-32E2821D165F}" dt="2023-03-27T07:55:40.527" v="7881" actId="21"/>
          <ac:picMkLst>
            <pc:docMk/>
            <pc:sldMk cId="1764373368" sldId="356"/>
            <ac:picMk id="7" creationId="{C120BAF6-9759-1778-945C-C583030B41F7}"/>
          </ac:picMkLst>
        </pc:picChg>
        <pc:picChg chg="del">
          <ac:chgData name="Dominik Buchegger" userId="7f2052fac20aabcc" providerId="LiveId" clId="{8168FD09-3A28-41E9-8064-32E2821D165F}" dt="2023-03-27T07:51:48.613" v="7674" actId="21"/>
          <ac:picMkLst>
            <pc:docMk/>
            <pc:sldMk cId="1764373368" sldId="356"/>
            <ac:picMk id="8" creationId="{F4F8952D-9CCB-41C4-A7A2-20BC2F91C1C3}"/>
          </ac:picMkLst>
        </pc:picChg>
        <pc:picChg chg="add del mod modCrop">
          <ac:chgData name="Dominik Buchegger" userId="7f2052fac20aabcc" providerId="LiveId" clId="{8168FD09-3A28-41E9-8064-32E2821D165F}" dt="2023-03-27T07:59:40.157" v="8062" actId="21"/>
          <ac:picMkLst>
            <pc:docMk/>
            <pc:sldMk cId="1764373368" sldId="356"/>
            <ac:picMk id="10" creationId="{101EB127-3D28-BBE1-3AF2-7175CA55F2B6}"/>
          </ac:picMkLst>
        </pc:picChg>
        <pc:picChg chg="del">
          <ac:chgData name="Dominik Buchegger" userId="7f2052fac20aabcc" providerId="LiveId" clId="{8168FD09-3A28-41E9-8064-32E2821D165F}" dt="2023-03-27T07:51:48.613" v="7674" actId="21"/>
          <ac:picMkLst>
            <pc:docMk/>
            <pc:sldMk cId="1764373368" sldId="356"/>
            <ac:picMk id="12" creationId="{56586296-81D0-44E3-AD86-D17F7377374D}"/>
          </ac:picMkLst>
        </pc:picChg>
        <pc:picChg chg="del">
          <ac:chgData name="Dominik Buchegger" userId="7f2052fac20aabcc" providerId="LiveId" clId="{8168FD09-3A28-41E9-8064-32E2821D165F}" dt="2023-03-27T07:51:48.613" v="7674" actId="21"/>
          <ac:picMkLst>
            <pc:docMk/>
            <pc:sldMk cId="1764373368" sldId="356"/>
            <ac:picMk id="13" creationId="{72266D9F-73FC-4145-BED1-42D9D36ABA51}"/>
          </ac:picMkLst>
        </pc:picChg>
        <pc:picChg chg="add del mod">
          <ac:chgData name="Dominik Buchegger" userId="7f2052fac20aabcc" providerId="LiveId" clId="{8168FD09-3A28-41E9-8064-32E2821D165F}" dt="2023-03-27T08:00:54.725" v="8070" actId="21"/>
          <ac:picMkLst>
            <pc:docMk/>
            <pc:sldMk cId="1764373368" sldId="356"/>
            <ac:picMk id="14" creationId="{14A20D69-F8A3-9B36-EF6A-0939F47E1F19}"/>
          </ac:picMkLst>
        </pc:picChg>
        <pc:picChg chg="add del mod">
          <ac:chgData name="Dominik Buchegger" userId="7f2052fac20aabcc" providerId="LiveId" clId="{8168FD09-3A28-41E9-8064-32E2821D165F}" dt="2023-03-27T08:00:54.725" v="8070" actId="21"/>
          <ac:picMkLst>
            <pc:docMk/>
            <pc:sldMk cId="1764373368" sldId="356"/>
            <ac:picMk id="16" creationId="{6B9E82F3-6C1B-4562-E1A4-325124A9D3EA}"/>
          </ac:picMkLst>
        </pc:picChg>
      </pc:sldChg>
      <pc:sldChg chg="add del">
        <pc:chgData name="Dominik Buchegger" userId="7f2052fac20aabcc" providerId="LiveId" clId="{8168FD09-3A28-41E9-8064-32E2821D165F}" dt="2023-03-27T08:27:01.720" v="9921" actId="47"/>
        <pc:sldMkLst>
          <pc:docMk/>
          <pc:sldMk cId="200348628" sldId="357"/>
        </pc:sldMkLst>
      </pc:sldChg>
      <pc:sldChg chg="delSp modSp add del mod">
        <pc:chgData name="Dominik Buchegger" userId="7f2052fac20aabcc" providerId="LiveId" clId="{8168FD09-3A28-41E9-8064-32E2821D165F}" dt="2023-03-27T08:37:29.291" v="11037" actId="47"/>
        <pc:sldMkLst>
          <pc:docMk/>
          <pc:sldMk cId="3959972409" sldId="358"/>
        </pc:sldMkLst>
        <pc:picChg chg="del mod">
          <ac:chgData name="Dominik Buchegger" userId="7f2052fac20aabcc" providerId="LiveId" clId="{8168FD09-3A28-41E9-8064-32E2821D165F}" dt="2023-03-27T08:27:40.831" v="9951" actId="478"/>
          <ac:picMkLst>
            <pc:docMk/>
            <pc:sldMk cId="3959972409" sldId="358"/>
            <ac:picMk id="4" creationId="{B74EFF07-BC82-4ED1-B5ED-C7E9F7BA5336}"/>
          </ac:picMkLst>
        </pc:picChg>
        <pc:picChg chg="del">
          <ac:chgData name="Dominik Buchegger" userId="7f2052fac20aabcc" providerId="LiveId" clId="{8168FD09-3A28-41E9-8064-32E2821D165F}" dt="2023-03-27T08:27:50.508" v="9957" actId="21"/>
          <ac:picMkLst>
            <pc:docMk/>
            <pc:sldMk cId="3959972409" sldId="358"/>
            <ac:picMk id="6" creationId="{6ADFD9EA-4D33-437F-91AD-A910E9871300}"/>
          </ac:picMkLst>
        </pc:picChg>
        <pc:picChg chg="del">
          <ac:chgData name="Dominik Buchegger" userId="7f2052fac20aabcc" providerId="LiveId" clId="{8168FD09-3A28-41E9-8064-32E2821D165F}" dt="2023-03-27T08:27:50.508" v="9957" actId="21"/>
          <ac:picMkLst>
            <pc:docMk/>
            <pc:sldMk cId="3959972409" sldId="358"/>
            <ac:picMk id="8" creationId="{9EB21F0E-66D8-499F-804C-C89AD9E49416}"/>
          </ac:picMkLst>
        </pc:picChg>
        <pc:inkChg chg="del">
          <ac:chgData name="Dominik Buchegger" userId="7f2052fac20aabcc" providerId="LiveId" clId="{8168FD09-3A28-41E9-8064-32E2821D165F}" dt="2023-03-27T08:27:43.354" v="9953" actId="478"/>
          <ac:inkMkLst>
            <pc:docMk/>
            <pc:sldMk cId="3959972409" sldId="358"/>
            <ac:inkMk id="9" creationId="{1F23B0E0-1C67-4F7B-8D7B-9149A41BF1DB}"/>
          </ac:inkMkLst>
        </pc:inkChg>
        <pc:inkChg chg="del">
          <ac:chgData name="Dominik Buchegger" userId="7f2052fac20aabcc" providerId="LiveId" clId="{8168FD09-3A28-41E9-8064-32E2821D165F}" dt="2023-03-27T08:27:45.685" v="9955" actId="478"/>
          <ac:inkMkLst>
            <pc:docMk/>
            <pc:sldMk cId="3959972409" sldId="358"/>
            <ac:inkMk id="10" creationId="{B18BA913-C19B-45F0-8565-CA191027E079}"/>
          </ac:inkMkLst>
        </pc:inkChg>
        <pc:inkChg chg="del">
          <ac:chgData name="Dominik Buchegger" userId="7f2052fac20aabcc" providerId="LiveId" clId="{8168FD09-3A28-41E9-8064-32E2821D165F}" dt="2023-03-27T08:27:47.587" v="9956" actId="478"/>
          <ac:inkMkLst>
            <pc:docMk/>
            <pc:sldMk cId="3959972409" sldId="358"/>
            <ac:inkMk id="11" creationId="{31390C45-2BFE-4F84-B6A7-9DACF58CAA4A}"/>
          </ac:inkMkLst>
        </pc:inkChg>
        <pc:inkChg chg="del">
          <ac:chgData name="Dominik Buchegger" userId="7f2052fac20aabcc" providerId="LiveId" clId="{8168FD09-3A28-41E9-8064-32E2821D165F}" dt="2023-03-27T08:27:42.126" v="9952" actId="478"/>
          <ac:inkMkLst>
            <pc:docMk/>
            <pc:sldMk cId="3959972409" sldId="358"/>
            <ac:inkMk id="12" creationId="{B15FDD7B-6DAD-4903-AC40-CD05C88EB945}"/>
          </ac:inkMkLst>
        </pc:inkChg>
        <pc:inkChg chg="del">
          <ac:chgData name="Dominik Buchegger" userId="7f2052fac20aabcc" providerId="LiveId" clId="{8168FD09-3A28-41E9-8064-32E2821D165F}" dt="2023-03-27T08:27:44.390" v="9954" actId="478"/>
          <ac:inkMkLst>
            <pc:docMk/>
            <pc:sldMk cId="3959972409" sldId="358"/>
            <ac:inkMk id="13" creationId="{71AA822E-1A17-4299-A29A-46CDB9FD4414}"/>
          </ac:inkMkLst>
        </pc:inkChg>
      </pc:sldChg>
      <pc:sldChg chg="addSp delSp modSp add del mod">
        <pc:chgData name="Dominik Buchegger" userId="7f2052fac20aabcc" providerId="LiveId" clId="{8168FD09-3A28-41E9-8064-32E2821D165F}" dt="2023-03-27T08:43:29.804" v="11289" actId="47"/>
        <pc:sldMkLst>
          <pc:docMk/>
          <pc:sldMk cId="3985723583" sldId="359"/>
        </pc:sldMkLst>
        <pc:picChg chg="add del mod">
          <ac:chgData name="Dominik Buchegger" userId="7f2052fac20aabcc" providerId="LiveId" clId="{8168FD09-3A28-41E9-8064-32E2821D165F}" dt="2023-03-27T08:38:11.372" v="11040" actId="21"/>
          <ac:picMkLst>
            <pc:docMk/>
            <pc:sldMk cId="3985723583" sldId="359"/>
            <ac:picMk id="5" creationId="{B16BAE3A-B841-E326-1908-AB4877DFADAA}"/>
          </ac:picMkLst>
        </pc:picChg>
      </pc:sldChg>
      <pc:sldChg chg="delSp add del mod">
        <pc:chgData name="Dominik Buchegger" userId="7f2052fac20aabcc" providerId="LiveId" clId="{8168FD09-3A28-41E9-8064-32E2821D165F}" dt="2023-03-27T08:47:06.114" v="11734" actId="47"/>
        <pc:sldMkLst>
          <pc:docMk/>
          <pc:sldMk cId="3876643832" sldId="360"/>
        </pc:sldMkLst>
        <pc:picChg chg="del">
          <ac:chgData name="Dominik Buchegger" userId="7f2052fac20aabcc" providerId="LiveId" clId="{8168FD09-3A28-41E9-8064-32E2821D165F}" dt="2023-03-27T08:43:34.419" v="11293" actId="21"/>
          <ac:picMkLst>
            <pc:docMk/>
            <pc:sldMk cId="3876643832" sldId="360"/>
            <ac:picMk id="6" creationId="{82314B8F-C60B-4CB8-8C83-30D8B0FEE4F4}"/>
          </ac:picMkLst>
        </pc:picChg>
      </pc:sldChg>
      <pc:sldChg chg="add">
        <pc:chgData name="Dominik Buchegger" userId="7f2052fac20aabcc" providerId="LiveId" clId="{8168FD09-3A28-41E9-8064-32E2821D165F}" dt="2023-03-27T07:22:10.691" v="5893"/>
        <pc:sldMkLst>
          <pc:docMk/>
          <pc:sldMk cId="1154282754" sldId="361"/>
        </pc:sldMkLst>
      </pc:sldChg>
      <pc:sldChg chg="add">
        <pc:chgData name="Dominik Buchegger" userId="7f2052fac20aabcc" providerId="LiveId" clId="{8168FD09-3A28-41E9-8064-32E2821D165F}" dt="2023-03-27T07:22:10.691" v="5893"/>
        <pc:sldMkLst>
          <pc:docMk/>
          <pc:sldMk cId="4173106856" sldId="362"/>
        </pc:sldMkLst>
      </pc:sldChg>
      <pc:sldChg chg="add">
        <pc:chgData name="Dominik Buchegger" userId="7f2052fac20aabcc" providerId="LiveId" clId="{8168FD09-3A28-41E9-8064-32E2821D165F}" dt="2023-03-27T07:22:10.691" v="5893"/>
        <pc:sldMkLst>
          <pc:docMk/>
          <pc:sldMk cId="4147637389" sldId="363"/>
        </pc:sldMkLst>
      </pc:sldChg>
      <pc:sldChg chg="add">
        <pc:chgData name="Dominik Buchegger" userId="7f2052fac20aabcc" providerId="LiveId" clId="{8168FD09-3A28-41E9-8064-32E2821D165F}" dt="2023-03-27T07:22:10.691" v="5893"/>
        <pc:sldMkLst>
          <pc:docMk/>
          <pc:sldMk cId="1962986633" sldId="364"/>
        </pc:sldMkLst>
      </pc:sldChg>
      <pc:sldChg chg="add">
        <pc:chgData name="Dominik Buchegger" userId="7f2052fac20aabcc" providerId="LiveId" clId="{8168FD09-3A28-41E9-8064-32E2821D165F}" dt="2023-03-27T07:22:10.691" v="5893"/>
        <pc:sldMkLst>
          <pc:docMk/>
          <pc:sldMk cId="307401479" sldId="365"/>
        </pc:sldMkLst>
      </pc:sldChg>
      <pc:sldChg chg="add">
        <pc:chgData name="Dominik Buchegger" userId="7f2052fac20aabcc" providerId="LiveId" clId="{8168FD09-3A28-41E9-8064-32E2821D165F}" dt="2023-03-27T07:22:10.691" v="5893"/>
        <pc:sldMkLst>
          <pc:docMk/>
          <pc:sldMk cId="3042333542" sldId="366"/>
        </pc:sldMkLst>
      </pc:sldChg>
      <pc:sldChg chg="add">
        <pc:chgData name="Dominik Buchegger" userId="7f2052fac20aabcc" providerId="LiveId" clId="{8168FD09-3A28-41E9-8064-32E2821D165F}" dt="2023-03-27T07:22:10.691" v="5893"/>
        <pc:sldMkLst>
          <pc:docMk/>
          <pc:sldMk cId="2251464805" sldId="367"/>
        </pc:sldMkLst>
      </pc:sldChg>
      <pc:sldChg chg="add">
        <pc:chgData name="Dominik Buchegger" userId="7f2052fac20aabcc" providerId="LiveId" clId="{8168FD09-3A28-41E9-8064-32E2821D165F}" dt="2023-03-27T07:22:10.691" v="5893"/>
        <pc:sldMkLst>
          <pc:docMk/>
          <pc:sldMk cId="2213383566" sldId="368"/>
        </pc:sldMkLst>
      </pc:sldChg>
      <pc:sldChg chg="add">
        <pc:chgData name="Dominik Buchegger" userId="7f2052fac20aabcc" providerId="LiveId" clId="{8168FD09-3A28-41E9-8064-32E2821D165F}" dt="2023-03-27T07:22:10.691" v="5893"/>
        <pc:sldMkLst>
          <pc:docMk/>
          <pc:sldMk cId="1371432072" sldId="369"/>
        </pc:sldMkLst>
      </pc:sldChg>
      <pc:sldChg chg="add">
        <pc:chgData name="Dominik Buchegger" userId="7f2052fac20aabcc" providerId="LiveId" clId="{8168FD09-3A28-41E9-8064-32E2821D165F}" dt="2023-03-27T07:22:10.691" v="5893"/>
        <pc:sldMkLst>
          <pc:docMk/>
          <pc:sldMk cId="653643123" sldId="370"/>
        </pc:sldMkLst>
      </pc:sldChg>
      <pc:sldChg chg="add">
        <pc:chgData name="Dominik Buchegger" userId="7f2052fac20aabcc" providerId="LiveId" clId="{8168FD09-3A28-41E9-8064-32E2821D165F}" dt="2023-03-27T07:22:10.691" v="5893"/>
        <pc:sldMkLst>
          <pc:docMk/>
          <pc:sldMk cId="3103699205" sldId="371"/>
        </pc:sldMkLst>
      </pc:sldChg>
      <pc:sldChg chg="add">
        <pc:chgData name="Dominik Buchegger" userId="7f2052fac20aabcc" providerId="LiveId" clId="{8168FD09-3A28-41E9-8064-32E2821D165F}" dt="2023-03-27T07:22:10.691" v="5893"/>
        <pc:sldMkLst>
          <pc:docMk/>
          <pc:sldMk cId="1074973614" sldId="399"/>
        </pc:sldMkLst>
      </pc:sldChg>
      <pc:sldChg chg="modSp mod">
        <pc:chgData name="Dominik Buchegger" userId="7f2052fac20aabcc" providerId="LiveId" clId="{8168FD09-3A28-41E9-8064-32E2821D165F}" dt="2023-03-27T06:50:16.392" v="3424" actId="20577"/>
        <pc:sldMkLst>
          <pc:docMk/>
          <pc:sldMk cId="2946332310" sldId="1460"/>
        </pc:sldMkLst>
        <pc:spChg chg="mod">
          <ac:chgData name="Dominik Buchegger" userId="7f2052fac20aabcc" providerId="LiveId" clId="{8168FD09-3A28-41E9-8064-32E2821D165F}" dt="2023-03-27T06:50:16.392" v="3424" actId="20577"/>
          <ac:spMkLst>
            <pc:docMk/>
            <pc:sldMk cId="2946332310" sldId="1460"/>
            <ac:spMk id="2" creationId="{38C104DD-55A5-D5D7-68B1-A81097757DA7}"/>
          </ac:spMkLst>
        </pc:spChg>
      </pc:sldChg>
      <pc:sldChg chg="modSp mod ord">
        <pc:chgData name="Dominik Buchegger" userId="7f2052fac20aabcc" providerId="LiveId" clId="{8168FD09-3A28-41E9-8064-32E2821D165F}" dt="2023-03-27T06:50:04.147" v="3416" actId="20577"/>
        <pc:sldMkLst>
          <pc:docMk/>
          <pc:sldMk cId="860905568" sldId="1461"/>
        </pc:sldMkLst>
        <pc:spChg chg="mod">
          <ac:chgData name="Dominik Buchegger" userId="7f2052fac20aabcc" providerId="LiveId" clId="{8168FD09-3A28-41E9-8064-32E2821D165F}" dt="2023-03-27T06:50:04.147" v="3416" actId="20577"/>
          <ac:spMkLst>
            <pc:docMk/>
            <pc:sldMk cId="860905568" sldId="1461"/>
            <ac:spMk id="2" creationId="{C36256A2-67B2-CA01-7417-6A9C17C6B307}"/>
          </ac:spMkLst>
        </pc:spChg>
      </pc:sldChg>
      <pc:sldChg chg="modSp del mod">
        <pc:chgData name="Dominik Buchegger" userId="7f2052fac20aabcc" providerId="LiveId" clId="{8168FD09-3A28-41E9-8064-32E2821D165F}" dt="2023-03-27T07:22:22.123" v="5895" actId="47"/>
        <pc:sldMkLst>
          <pc:docMk/>
          <pc:sldMk cId="3108777804" sldId="1465"/>
        </pc:sldMkLst>
        <pc:spChg chg="mod">
          <ac:chgData name="Dominik Buchegger" userId="7f2052fac20aabcc" providerId="LiveId" clId="{8168FD09-3A28-41E9-8064-32E2821D165F}" dt="2023-03-24T07:38:23.416" v="63" actId="20577"/>
          <ac:spMkLst>
            <pc:docMk/>
            <pc:sldMk cId="3108777804" sldId="1465"/>
            <ac:spMk id="2" creationId="{C36256A2-67B2-CA01-7417-6A9C17C6B307}"/>
          </ac:spMkLst>
        </pc:spChg>
      </pc:sldChg>
      <pc:sldChg chg="modSp mod">
        <pc:chgData name="Dominik Buchegger" userId="7f2052fac20aabcc" providerId="LiveId" clId="{8168FD09-3A28-41E9-8064-32E2821D165F}" dt="2023-03-27T06:50:08.194" v="3418" actId="20577"/>
        <pc:sldMkLst>
          <pc:docMk/>
          <pc:sldMk cId="455783933" sldId="1496"/>
        </pc:sldMkLst>
        <pc:spChg chg="mod">
          <ac:chgData name="Dominik Buchegger" userId="7f2052fac20aabcc" providerId="LiveId" clId="{8168FD09-3A28-41E9-8064-32E2821D165F}" dt="2023-03-27T06:50:08.194" v="3418" actId="20577"/>
          <ac:spMkLst>
            <pc:docMk/>
            <pc:sldMk cId="455783933" sldId="1496"/>
            <ac:spMk id="2" creationId="{C36256A2-67B2-CA01-7417-6A9C17C6B307}"/>
          </ac:spMkLst>
        </pc:spChg>
      </pc:sldChg>
      <pc:sldChg chg="del">
        <pc:chgData name="Dominik Buchegger" userId="7f2052fac20aabcc" providerId="LiveId" clId="{8168FD09-3A28-41E9-8064-32E2821D165F}" dt="2023-03-27T07:22:19.336" v="5894" actId="47"/>
        <pc:sldMkLst>
          <pc:docMk/>
          <pc:sldMk cId="1996384533" sldId="1507"/>
        </pc:sldMkLst>
      </pc:sldChg>
      <pc:sldChg chg="del">
        <pc:chgData name="Dominik Buchegger" userId="7f2052fac20aabcc" providerId="LiveId" clId="{8168FD09-3A28-41E9-8064-32E2821D165F}" dt="2023-03-27T07:22:19.336" v="5894" actId="47"/>
        <pc:sldMkLst>
          <pc:docMk/>
          <pc:sldMk cId="1339548901" sldId="1511"/>
        </pc:sldMkLst>
      </pc:sldChg>
      <pc:sldChg chg="del">
        <pc:chgData name="Dominik Buchegger" userId="7f2052fac20aabcc" providerId="LiveId" clId="{8168FD09-3A28-41E9-8064-32E2821D165F}" dt="2023-03-27T07:22:19.336" v="5894" actId="47"/>
        <pc:sldMkLst>
          <pc:docMk/>
          <pc:sldMk cId="177042120" sldId="1512"/>
        </pc:sldMkLst>
      </pc:sldChg>
      <pc:sldChg chg="del">
        <pc:chgData name="Dominik Buchegger" userId="7f2052fac20aabcc" providerId="LiveId" clId="{8168FD09-3A28-41E9-8064-32E2821D165F}" dt="2023-03-27T07:22:19.336" v="5894" actId="47"/>
        <pc:sldMkLst>
          <pc:docMk/>
          <pc:sldMk cId="1140837249" sldId="1513"/>
        </pc:sldMkLst>
      </pc:sldChg>
      <pc:sldChg chg="del">
        <pc:chgData name="Dominik Buchegger" userId="7f2052fac20aabcc" providerId="LiveId" clId="{8168FD09-3A28-41E9-8064-32E2821D165F}" dt="2023-03-27T07:22:19.336" v="5894" actId="47"/>
        <pc:sldMkLst>
          <pc:docMk/>
          <pc:sldMk cId="2922153284" sldId="1514"/>
        </pc:sldMkLst>
      </pc:sldChg>
      <pc:sldChg chg="del">
        <pc:chgData name="Dominik Buchegger" userId="7f2052fac20aabcc" providerId="LiveId" clId="{8168FD09-3A28-41E9-8064-32E2821D165F}" dt="2023-03-27T07:22:19.336" v="5894" actId="47"/>
        <pc:sldMkLst>
          <pc:docMk/>
          <pc:sldMk cId="56286098" sldId="1515"/>
        </pc:sldMkLst>
      </pc:sldChg>
      <pc:sldChg chg="del">
        <pc:chgData name="Dominik Buchegger" userId="7f2052fac20aabcc" providerId="LiveId" clId="{8168FD09-3A28-41E9-8064-32E2821D165F}" dt="2023-03-27T07:22:19.336" v="5894" actId="47"/>
        <pc:sldMkLst>
          <pc:docMk/>
          <pc:sldMk cId="652117708" sldId="1516"/>
        </pc:sldMkLst>
      </pc:sldChg>
      <pc:sldChg chg="del">
        <pc:chgData name="Dominik Buchegger" userId="7f2052fac20aabcc" providerId="LiveId" clId="{8168FD09-3A28-41E9-8064-32E2821D165F}" dt="2023-03-27T07:22:19.336" v="5894" actId="47"/>
        <pc:sldMkLst>
          <pc:docMk/>
          <pc:sldMk cId="2875370425" sldId="1518"/>
        </pc:sldMkLst>
      </pc:sldChg>
      <pc:sldChg chg="del">
        <pc:chgData name="Dominik Buchegger" userId="7f2052fac20aabcc" providerId="LiveId" clId="{8168FD09-3A28-41E9-8064-32E2821D165F}" dt="2023-03-27T06:49:24.473" v="3411" actId="47"/>
        <pc:sldMkLst>
          <pc:docMk/>
          <pc:sldMk cId="1831014814" sldId="1519"/>
        </pc:sldMkLst>
      </pc:sldChg>
      <pc:sldChg chg="del">
        <pc:chgData name="Dominik Buchegger" userId="7f2052fac20aabcc" providerId="LiveId" clId="{8168FD09-3A28-41E9-8064-32E2821D165F}" dt="2023-03-27T06:49:24.473" v="3411" actId="47"/>
        <pc:sldMkLst>
          <pc:docMk/>
          <pc:sldMk cId="1026095153" sldId="1520"/>
        </pc:sldMkLst>
      </pc:sldChg>
      <pc:sldChg chg="del">
        <pc:chgData name="Dominik Buchegger" userId="7f2052fac20aabcc" providerId="LiveId" clId="{8168FD09-3A28-41E9-8064-32E2821D165F}" dt="2023-03-27T06:49:24.473" v="3411" actId="47"/>
        <pc:sldMkLst>
          <pc:docMk/>
          <pc:sldMk cId="750035995" sldId="1521"/>
        </pc:sldMkLst>
      </pc:sldChg>
      <pc:sldChg chg="del">
        <pc:chgData name="Dominik Buchegger" userId="7f2052fac20aabcc" providerId="LiveId" clId="{8168FD09-3A28-41E9-8064-32E2821D165F}" dt="2023-03-27T06:49:24.473" v="3411" actId="47"/>
        <pc:sldMkLst>
          <pc:docMk/>
          <pc:sldMk cId="614521398" sldId="1522"/>
        </pc:sldMkLst>
      </pc:sldChg>
      <pc:sldChg chg="del">
        <pc:chgData name="Dominik Buchegger" userId="7f2052fac20aabcc" providerId="LiveId" clId="{8168FD09-3A28-41E9-8064-32E2821D165F}" dt="2023-03-27T06:49:24.473" v="3411" actId="47"/>
        <pc:sldMkLst>
          <pc:docMk/>
          <pc:sldMk cId="766586679" sldId="1523"/>
        </pc:sldMkLst>
      </pc:sldChg>
      <pc:sldChg chg="del">
        <pc:chgData name="Dominik Buchegger" userId="7f2052fac20aabcc" providerId="LiveId" clId="{8168FD09-3A28-41E9-8064-32E2821D165F}" dt="2023-03-27T07:21:10.786" v="5888" actId="47"/>
        <pc:sldMkLst>
          <pc:docMk/>
          <pc:sldMk cId="2649788456" sldId="1524"/>
        </pc:sldMkLst>
      </pc:sldChg>
      <pc:sldChg chg="del">
        <pc:chgData name="Dominik Buchegger" userId="7f2052fac20aabcc" providerId="LiveId" clId="{8168FD09-3A28-41E9-8064-32E2821D165F}" dt="2023-03-27T07:22:19.336" v="5894" actId="47"/>
        <pc:sldMkLst>
          <pc:docMk/>
          <pc:sldMk cId="89049002" sldId="1525"/>
        </pc:sldMkLst>
      </pc:sldChg>
      <pc:sldChg chg="modSp add mod">
        <pc:chgData name="Dominik Buchegger" userId="7f2052fac20aabcc" providerId="LiveId" clId="{8168FD09-3A28-41E9-8064-32E2821D165F}" dt="2023-03-27T07:22:24.805" v="5897" actId="20577"/>
        <pc:sldMkLst>
          <pc:docMk/>
          <pc:sldMk cId="3982551352" sldId="1526"/>
        </pc:sldMkLst>
        <pc:spChg chg="mod">
          <ac:chgData name="Dominik Buchegger" userId="7f2052fac20aabcc" providerId="LiveId" clId="{8168FD09-3A28-41E9-8064-32E2821D165F}" dt="2023-03-27T07:22:24.805" v="5897" actId="20577"/>
          <ac:spMkLst>
            <pc:docMk/>
            <pc:sldMk cId="3982551352" sldId="1526"/>
            <ac:spMk id="2" creationId="{C36256A2-67B2-CA01-7417-6A9C17C6B307}"/>
          </ac:spMkLst>
        </pc:spChg>
      </pc:sldChg>
      <pc:sldChg chg="addSp delSp modSp add del mod ord">
        <pc:chgData name="Dominik Buchegger" userId="7f2052fac20aabcc" providerId="LiveId" clId="{8168FD09-3A28-41E9-8064-32E2821D165F}" dt="2023-03-24T07:47:48.234" v="358" actId="47"/>
        <pc:sldMkLst>
          <pc:docMk/>
          <pc:sldMk cId="4248734353" sldId="1527"/>
        </pc:sldMkLst>
        <pc:spChg chg="mod">
          <ac:chgData name="Dominik Buchegger" userId="7f2052fac20aabcc" providerId="LiveId" clId="{8168FD09-3A28-41E9-8064-32E2821D165F}" dt="2023-03-24T07:42:56.688" v="113" actId="14100"/>
          <ac:spMkLst>
            <pc:docMk/>
            <pc:sldMk cId="4248734353" sldId="1527"/>
            <ac:spMk id="3" creationId="{C1C055D0-88FC-814E-85AF-F5DD6D247310}"/>
          </ac:spMkLst>
        </pc:spChg>
        <pc:spChg chg="mod">
          <ac:chgData name="Dominik Buchegger" userId="7f2052fac20aabcc" providerId="LiveId" clId="{8168FD09-3A28-41E9-8064-32E2821D165F}" dt="2023-03-24T07:41:23.670" v="105" actId="14100"/>
          <ac:spMkLst>
            <pc:docMk/>
            <pc:sldMk cId="4248734353" sldId="1527"/>
            <ac:spMk id="5" creationId="{DABB2ADA-E1DB-4B4A-B517-713666D358EF}"/>
          </ac:spMkLst>
        </pc:spChg>
        <pc:spChg chg="mod">
          <ac:chgData name="Dominik Buchegger" userId="7f2052fac20aabcc" providerId="LiveId" clId="{8168FD09-3A28-41E9-8064-32E2821D165F}" dt="2023-03-24T07:46:02.304" v="309" actId="113"/>
          <ac:spMkLst>
            <pc:docMk/>
            <pc:sldMk cId="4248734353" sldId="1527"/>
            <ac:spMk id="7" creationId="{88402065-B0C1-1FFD-5746-47118007C7AA}"/>
          </ac:spMkLst>
        </pc:spChg>
        <pc:spChg chg="add mod">
          <ac:chgData name="Dominik Buchegger" userId="7f2052fac20aabcc" providerId="LiveId" clId="{8168FD09-3A28-41E9-8064-32E2821D165F}" dt="2023-03-24T07:41:42.501" v="110" actId="20577"/>
          <ac:spMkLst>
            <pc:docMk/>
            <pc:sldMk cId="4248734353" sldId="1527"/>
            <ac:spMk id="9" creationId="{34362B25-9F4C-89DC-157D-3D8145E086C7}"/>
          </ac:spMkLst>
        </pc:spChg>
        <pc:spChg chg="add mod">
          <ac:chgData name="Dominik Buchegger" userId="7f2052fac20aabcc" providerId="LiveId" clId="{8168FD09-3A28-41E9-8064-32E2821D165F}" dt="2023-03-24T07:41:16.409" v="90" actId="1036"/>
          <ac:spMkLst>
            <pc:docMk/>
            <pc:sldMk cId="4248734353" sldId="1527"/>
            <ac:spMk id="10" creationId="{D22D5D8D-D185-65BD-F898-745062A80542}"/>
          </ac:spMkLst>
        </pc:spChg>
        <pc:spChg chg="mod">
          <ac:chgData name="Dominik Buchegger" userId="7f2052fac20aabcc" providerId="LiveId" clId="{8168FD09-3A28-41E9-8064-32E2821D165F}" dt="2023-03-24T07:43:06.314" v="119" actId="20577"/>
          <ac:spMkLst>
            <pc:docMk/>
            <pc:sldMk cId="4248734353" sldId="1527"/>
            <ac:spMk id="12" creationId="{48147645-F5CB-BEB3-601A-C12CBC4FBBAE}"/>
          </ac:spMkLst>
        </pc:spChg>
        <pc:spChg chg="del">
          <ac:chgData name="Dominik Buchegger" userId="7f2052fac20aabcc" providerId="LiveId" clId="{8168FD09-3A28-41E9-8064-32E2821D165F}" dt="2023-03-24T07:38:42.151" v="68" actId="478"/>
          <ac:spMkLst>
            <pc:docMk/>
            <pc:sldMk cId="4248734353" sldId="1527"/>
            <ac:spMk id="14" creationId="{F26F8BED-3A62-F6B4-30DB-E1F7951ADF69}"/>
          </ac:spMkLst>
        </pc:spChg>
        <pc:spChg chg="del">
          <ac:chgData name="Dominik Buchegger" userId="7f2052fac20aabcc" providerId="LiveId" clId="{8168FD09-3A28-41E9-8064-32E2821D165F}" dt="2023-03-24T07:43:15.487" v="122" actId="478"/>
          <ac:spMkLst>
            <pc:docMk/>
            <pc:sldMk cId="4248734353" sldId="1527"/>
            <ac:spMk id="17" creationId="{1149AEBD-ADF1-CDEC-B348-2611DD349C70}"/>
          </ac:spMkLst>
        </pc:spChg>
        <pc:spChg chg="del">
          <ac:chgData name="Dominik Buchegger" userId="7f2052fac20aabcc" providerId="LiveId" clId="{8168FD09-3A28-41E9-8064-32E2821D165F}" dt="2023-03-24T07:43:19.002" v="124" actId="478"/>
          <ac:spMkLst>
            <pc:docMk/>
            <pc:sldMk cId="4248734353" sldId="1527"/>
            <ac:spMk id="53" creationId="{1CB50B15-FB56-DB1A-1A38-D0AB78058ADC}"/>
          </ac:spMkLst>
        </pc:spChg>
        <pc:spChg chg="del">
          <ac:chgData name="Dominik Buchegger" userId="7f2052fac20aabcc" providerId="LiveId" clId="{8168FD09-3A28-41E9-8064-32E2821D165F}" dt="2023-03-24T07:38:43.882" v="69" actId="478"/>
          <ac:spMkLst>
            <pc:docMk/>
            <pc:sldMk cId="4248734353" sldId="1527"/>
            <ac:spMk id="54" creationId="{22FE39C3-F627-C095-E259-83FD9C81FC75}"/>
          </ac:spMkLst>
        </pc:spChg>
        <pc:spChg chg="del">
          <ac:chgData name="Dominik Buchegger" userId="7f2052fac20aabcc" providerId="LiveId" clId="{8168FD09-3A28-41E9-8064-32E2821D165F}" dt="2023-03-24T07:38:46.109" v="70" actId="478"/>
          <ac:spMkLst>
            <pc:docMk/>
            <pc:sldMk cId="4248734353" sldId="1527"/>
            <ac:spMk id="56" creationId="{58265B1D-AAF0-B674-BFEB-B302199AD770}"/>
          </ac:spMkLst>
        </pc:spChg>
        <pc:spChg chg="del">
          <ac:chgData name="Dominik Buchegger" userId="7f2052fac20aabcc" providerId="LiveId" clId="{8168FD09-3A28-41E9-8064-32E2821D165F}" dt="2023-03-24T07:38:49.121" v="72" actId="478"/>
          <ac:spMkLst>
            <pc:docMk/>
            <pc:sldMk cId="4248734353" sldId="1527"/>
            <ac:spMk id="59" creationId="{BCB7EA73-9C56-8761-065B-B92EDC3B1B6E}"/>
          </ac:spMkLst>
        </pc:spChg>
        <pc:picChg chg="del">
          <ac:chgData name="Dominik Buchegger" userId="7f2052fac20aabcc" providerId="LiveId" clId="{8168FD09-3A28-41E9-8064-32E2821D165F}" dt="2023-03-24T07:42:25.742" v="111" actId="478"/>
          <ac:picMkLst>
            <pc:docMk/>
            <pc:sldMk cId="4248734353" sldId="1527"/>
            <ac:picMk id="6" creationId="{335045E0-711C-9B8D-E7C0-B793D1F97024}"/>
          </ac:picMkLst>
        </pc:picChg>
        <pc:picChg chg="del">
          <ac:chgData name="Dominik Buchegger" userId="7f2052fac20aabcc" providerId="LiveId" clId="{8168FD09-3A28-41E9-8064-32E2821D165F}" dt="2023-03-24T07:43:16.914" v="123" actId="478"/>
          <ac:picMkLst>
            <pc:docMk/>
            <pc:sldMk cId="4248734353" sldId="1527"/>
            <ac:picMk id="21" creationId="{645941CC-CD96-2073-FED3-15C7E4B4F930}"/>
          </ac:picMkLst>
        </pc:picChg>
        <pc:picChg chg="del">
          <ac:chgData name="Dominik Buchegger" userId="7f2052fac20aabcc" providerId="LiveId" clId="{8168FD09-3A28-41E9-8064-32E2821D165F}" dt="2023-03-24T07:43:20.463" v="125" actId="478"/>
          <ac:picMkLst>
            <pc:docMk/>
            <pc:sldMk cId="4248734353" sldId="1527"/>
            <ac:picMk id="39" creationId="{EA7A4CDC-C6E6-F46B-C841-778BB46C9450}"/>
          </ac:picMkLst>
        </pc:picChg>
        <pc:picChg chg="del">
          <ac:chgData name="Dominik Buchegger" userId="7f2052fac20aabcc" providerId="LiveId" clId="{8168FD09-3A28-41E9-8064-32E2821D165F}" dt="2023-03-24T07:38:39.985" v="67" actId="478"/>
          <ac:picMkLst>
            <pc:docMk/>
            <pc:sldMk cId="4248734353" sldId="1527"/>
            <ac:picMk id="55" creationId="{240BCD60-521C-4750-4384-CAA2C667C932}"/>
          </ac:picMkLst>
        </pc:picChg>
        <pc:picChg chg="del">
          <ac:chgData name="Dominik Buchegger" userId="7f2052fac20aabcc" providerId="LiveId" clId="{8168FD09-3A28-41E9-8064-32E2821D165F}" dt="2023-03-24T07:38:50.085" v="73" actId="478"/>
          <ac:picMkLst>
            <pc:docMk/>
            <pc:sldMk cId="4248734353" sldId="1527"/>
            <ac:picMk id="57" creationId="{4902B330-FD86-6DB3-6E2B-7FAAF51328D4}"/>
          </ac:picMkLst>
        </pc:picChg>
        <pc:picChg chg="del">
          <ac:chgData name="Dominik Buchegger" userId="7f2052fac20aabcc" providerId="LiveId" clId="{8168FD09-3A28-41E9-8064-32E2821D165F}" dt="2023-03-24T07:38:47.087" v="71" actId="478"/>
          <ac:picMkLst>
            <pc:docMk/>
            <pc:sldMk cId="4248734353" sldId="1527"/>
            <ac:picMk id="58" creationId="{382CF978-D757-EB17-CE9C-9CA3EA7B74D9}"/>
          </ac:picMkLst>
        </pc:picChg>
      </pc:sldChg>
      <pc:sldChg chg="modSp add del mod ord">
        <pc:chgData name="Dominik Buchegger" userId="7f2052fac20aabcc" providerId="LiveId" clId="{8168FD09-3A28-41E9-8064-32E2821D165F}" dt="2023-03-27T07:22:22.123" v="5895" actId="47"/>
        <pc:sldMkLst>
          <pc:docMk/>
          <pc:sldMk cId="1757051100" sldId="1528"/>
        </pc:sldMkLst>
        <pc:spChg chg="mod">
          <ac:chgData name="Dominik Buchegger" userId="7f2052fac20aabcc" providerId="LiveId" clId="{8168FD09-3A28-41E9-8064-32E2821D165F}" dt="2023-03-24T08:04:46.220" v="1042" actId="20577"/>
          <ac:spMkLst>
            <pc:docMk/>
            <pc:sldMk cId="1757051100" sldId="1528"/>
            <ac:spMk id="2" creationId="{8BF1B61B-0C25-A347-8E82-9E36B55C7C82}"/>
          </ac:spMkLst>
        </pc:spChg>
        <pc:spChg chg="mod">
          <ac:chgData name="Dominik Buchegger" userId="7f2052fac20aabcc" providerId="LiveId" clId="{8168FD09-3A28-41E9-8064-32E2821D165F}" dt="2023-03-24T07:49:30.073" v="397" actId="14100"/>
          <ac:spMkLst>
            <pc:docMk/>
            <pc:sldMk cId="1757051100" sldId="1528"/>
            <ac:spMk id="3" creationId="{C1C055D0-88FC-814E-85AF-F5DD6D247310}"/>
          </ac:spMkLst>
        </pc:spChg>
        <pc:spChg chg="mod">
          <ac:chgData name="Dominik Buchegger" userId="7f2052fac20aabcc" providerId="LiveId" clId="{8168FD09-3A28-41E9-8064-32E2821D165F}" dt="2023-03-24T07:49:26.603" v="396" actId="14100"/>
          <ac:spMkLst>
            <pc:docMk/>
            <pc:sldMk cId="1757051100" sldId="1528"/>
            <ac:spMk id="5" creationId="{DABB2ADA-E1DB-4B4A-B517-713666D358EF}"/>
          </ac:spMkLst>
        </pc:spChg>
        <pc:spChg chg="mod">
          <ac:chgData name="Dominik Buchegger" userId="7f2052fac20aabcc" providerId="LiveId" clId="{8168FD09-3A28-41E9-8064-32E2821D165F}" dt="2023-03-24T07:49:35.568" v="398" actId="14100"/>
          <ac:spMkLst>
            <pc:docMk/>
            <pc:sldMk cId="1757051100" sldId="1528"/>
            <ac:spMk id="7" creationId="{88402065-B0C1-1FFD-5746-47118007C7AA}"/>
          </ac:spMkLst>
        </pc:spChg>
        <pc:spChg chg="mod">
          <ac:chgData name="Dominik Buchegger" userId="7f2052fac20aabcc" providerId="LiveId" clId="{8168FD09-3A28-41E9-8064-32E2821D165F}" dt="2023-03-24T07:49:50.300" v="401" actId="1076"/>
          <ac:spMkLst>
            <pc:docMk/>
            <pc:sldMk cId="1757051100" sldId="1528"/>
            <ac:spMk id="9" creationId="{34362B25-9F4C-89DC-157D-3D8145E086C7}"/>
          </ac:spMkLst>
        </pc:spChg>
        <pc:spChg chg="mod">
          <ac:chgData name="Dominik Buchegger" userId="7f2052fac20aabcc" providerId="LiveId" clId="{8168FD09-3A28-41E9-8064-32E2821D165F}" dt="2023-03-24T08:04:45.798" v="1041" actId="20577"/>
          <ac:spMkLst>
            <pc:docMk/>
            <pc:sldMk cId="1757051100" sldId="1528"/>
            <ac:spMk id="10" creationId="{D22D5D8D-D185-65BD-F898-745062A80542}"/>
          </ac:spMkLst>
        </pc:spChg>
      </pc:sldChg>
      <pc:sldChg chg="modSp add del mod">
        <pc:chgData name="Dominik Buchegger" userId="7f2052fac20aabcc" providerId="LiveId" clId="{8168FD09-3A28-41E9-8064-32E2821D165F}" dt="2023-03-24T07:49:39.605" v="399" actId="47"/>
        <pc:sldMkLst>
          <pc:docMk/>
          <pc:sldMk cId="2864878517" sldId="1529"/>
        </pc:sldMkLst>
        <pc:spChg chg="mod">
          <ac:chgData name="Dominik Buchegger" userId="7f2052fac20aabcc" providerId="LiveId" clId="{8168FD09-3A28-41E9-8064-32E2821D165F}" dt="2023-03-24T07:47:58.137" v="380" actId="20577"/>
          <ac:spMkLst>
            <pc:docMk/>
            <pc:sldMk cId="2864878517" sldId="1529"/>
            <ac:spMk id="2" creationId="{8BF1B61B-0C25-A347-8E82-9E36B55C7C82}"/>
          </ac:spMkLst>
        </pc:spChg>
        <pc:spChg chg="mod">
          <ac:chgData name="Dominik Buchegger" userId="7f2052fac20aabcc" providerId="LiveId" clId="{8168FD09-3A28-41E9-8064-32E2821D165F}" dt="2023-03-24T07:48:59.413" v="392" actId="20577"/>
          <ac:spMkLst>
            <pc:docMk/>
            <pc:sldMk cId="2864878517" sldId="1529"/>
            <ac:spMk id="10" creationId="{D22D5D8D-D185-65BD-F898-745062A80542}"/>
          </ac:spMkLst>
        </pc:spChg>
      </pc:sldChg>
      <pc:sldChg chg="modSp add del mod">
        <pc:chgData name="Dominik Buchegger" userId="7f2052fac20aabcc" providerId="LiveId" clId="{8168FD09-3A28-41E9-8064-32E2821D165F}" dt="2023-03-27T07:22:22.123" v="5895" actId="47"/>
        <pc:sldMkLst>
          <pc:docMk/>
          <pc:sldMk cId="3130344191" sldId="1529"/>
        </pc:sldMkLst>
        <pc:spChg chg="mod">
          <ac:chgData name="Dominik Buchegger" userId="7f2052fac20aabcc" providerId="LiveId" clId="{8168FD09-3A28-41E9-8064-32E2821D165F}" dt="2023-03-24T08:00:49.200" v="902" actId="20577"/>
          <ac:spMkLst>
            <pc:docMk/>
            <pc:sldMk cId="3130344191" sldId="1529"/>
            <ac:spMk id="2" creationId="{8BF1B61B-0C25-A347-8E82-9E36B55C7C82}"/>
          </ac:spMkLst>
        </pc:spChg>
        <pc:spChg chg="mod">
          <ac:chgData name="Dominik Buchegger" userId="7f2052fac20aabcc" providerId="LiveId" clId="{8168FD09-3A28-41E9-8064-32E2821D165F}" dt="2023-03-24T08:23:49.442" v="2213" actId="20577"/>
          <ac:spMkLst>
            <pc:docMk/>
            <pc:sldMk cId="3130344191" sldId="1529"/>
            <ac:spMk id="7" creationId="{88402065-B0C1-1FFD-5746-47118007C7AA}"/>
          </ac:spMkLst>
        </pc:spChg>
        <pc:spChg chg="mod">
          <ac:chgData name="Dominik Buchegger" userId="7f2052fac20aabcc" providerId="LiveId" clId="{8168FD09-3A28-41E9-8064-32E2821D165F}" dt="2023-03-24T07:55:22.118" v="567" actId="6549"/>
          <ac:spMkLst>
            <pc:docMk/>
            <pc:sldMk cId="3130344191" sldId="1529"/>
            <ac:spMk id="10" creationId="{D22D5D8D-D185-65BD-F898-745062A80542}"/>
          </ac:spMkLst>
        </pc:spChg>
      </pc:sldChg>
      <pc:sldChg chg="add del">
        <pc:chgData name="Dominik Buchegger" userId="7f2052fac20aabcc" providerId="LiveId" clId="{8168FD09-3A28-41E9-8064-32E2821D165F}" dt="2023-03-24T07:47:47.543" v="357" actId="47"/>
        <pc:sldMkLst>
          <pc:docMk/>
          <pc:sldMk cId="3766158366" sldId="1529"/>
        </pc:sldMkLst>
      </pc:sldChg>
      <pc:sldChg chg="modSp add del mod ord">
        <pc:chgData name="Dominik Buchegger" userId="7f2052fac20aabcc" providerId="LiveId" clId="{8168FD09-3A28-41E9-8064-32E2821D165F}" dt="2023-03-24T08:03:10.698" v="990" actId="47"/>
        <pc:sldMkLst>
          <pc:docMk/>
          <pc:sldMk cId="312532063" sldId="1530"/>
        </pc:sldMkLst>
        <pc:spChg chg="mod">
          <ac:chgData name="Dominik Buchegger" userId="7f2052fac20aabcc" providerId="LiveId" clId="{8168FD09-3A28-41E9-8064-32E2821D165F}" dt="2023-03-24T08:02:39.440" v="983" actId="20577"/>
          <ac:spMkLst>
            <pc:docMk/>
            <pc:sldMk cId="312532063" sldId="1530"/>
            <ac:spMk id="2" creationId="{8BF1B61B-0C25-A347-8E82-9E36B55C7C82}"/>
          </ac:spMkLst>
        </pc:spChg>
        <pc:spChg chg="mod">
          <ac:chgData name="Dominik Buchegger" userId="7f2052fac20aabcc" providerId="LiveId" clId="{8168FD09-3A28-41E9-8064-32E2821D165F}" dt="2023-03-24T08:01:41.992" v="905" actId="6549"/>
          <ac:spMkLst>
            <pc:docMk/>
            <pc:sldMk cId="312532063" sldId="1530"/>
            <ac:spMk id="7" creationId="{88402065-B0C1-1FFD-5746-47118007C7AA}"/>
          </ac:spMkLst>
        </pc:spChg>
      </pc:sldChg>
      <pc:sldChg chg="modSp add del mod">
        <pc:chgData name="Dominik Buchegger" userId="7f2052fac20aabcc" providerId="LiveId" clId="{8168FD09-3A28-41E9-8064-32E2821D165F}" dt="2023-03-27T07:22:22.123" v="5895" actId="47"/>
        <pc:sldMkLst>
          <pc:docMk/>
          <pc:sldMk cId="1236088309" sldId="1531"/>
        </pc:sldMkLst>
        <pc:spChg chg="mod">
          <ac:chgData name="Dominik Buchegger" userId="7f2052fac20aabcc" providerId="LiveId" clId="{8168FD09-3A28-41E9-8064-32E2821D165F}" dt="2023-03-24T08:43:50.903" v="3370" actId="207"/>
          <ac:spMkLst>
            <pc:docMk/>
            <pc:sldMk cId="1236088309" sldId="1531"/>
            <ac:spMk id="2" creationId="{8BF1B61B-0C25-A347-8E82-9E36B55C7C82}"/>
          </ac:spMkLst>
        </pc:spChg>
        <pc:spChg chg="mod">
          <ac:chgData name="Dominik Buchegger" userId="7f2052fac20aabcc" providerId="LiveId" clId="{8168FD09-3A28-41E9-8064-32E2821D165F}" dt="2023-03-24T08:19:46.037" v="1900" actId="1076"/>
          <ac:spMkLst>
            <pc:docMk/>
            <pc:sldMk cId="1236088309" sldId="1531"/>
            <ac:spMk id="7" creationId="{88402065-B0C1-1FFD-5746-47118007C7AA}"/>
          </ac:spMkLst>
        </pc:spChg>
        <pc:spChg chg="mod">
          <ac:chgData name="Dominik Buchegger" userId="7f2052fac20aabcc" providerId="LiveId" clId="{8168FD09-3A28-41E9-8064-32E2821D165F}" dt="2023-03-24T08:22:28.274" v="2040" actId="6549"/>
          <ac:spMkLst>
            <pc:docMk/>
            <pc:sldMk cId="1236088309" sldId="1531"/>
            <ac:spMk id="10" creationId="{D22D5D8D-D185-65BD-F898-745062A80542}"/>
          </ac:spMkLst>
        </pc:spChg>
      </pc:sldChg>
      <pc:sldChg chg="modSp add del mod">
        <pc:chgData name="Dominik Buchegger" userId="7f2052fac20aabcc" providerId="LiveId" clId="{8168FD09-3A28-41E9-8064-32E2821D165F}" dt="2023-03-27T07:22:22.123" v="5895" actId="47"/>
        <pc:sldMkLst>
          <pc:docMk/>
          <pc:sldMk cId="3225741853" sldId="1532"/>
        </pc:sldMkLst>
        <pc:spChg chg="mod">
          <ac:chgData name="Dominik Buchegger" userId="7f2052fac20aabcc" providerId="LiveId" clId="{8168FD09-3A28-41E9-8064-32E2821D165F}" dt="2023-03-24T08:25:26.938" v="2235" actId="20577"/>
          <ac:spMkLst>
            <pc:docMk/>
            <pc:sldMk cId="3225741853" sldId="1532"/>
            <ac:spMk id="2" creationId="{8BF1B61B-0C25-A347-8E82-9E36B55C7C82}"/>
          </ac:spMkLst>
        </pc:spChg>
        <pc:spChg chg="mod">
          <ac:chgData name="Dominik Buchegger" userId="7f2052fac20aabcc" providerId="LiveId" clId="{8168FD09-3A28-41E9-8064-32E2821D165F}" dt="2023-03-24T08:31:23.080" v="2287" actId="14100"/>
          <ac:spMkLst>
            <pc:docMk/>
            <pc:sldMk cId="3225741853" sldId="1532"/>
            <ac:spMk id="5" creationId="{DABB2ADA-E1DB-4B4A-B517-713666D358EF}"/>
          </ac:spMkLst>
        </pc:spChg>
        <pc:spChg chg="mod">
          <ac:chgData name="Dominik Buchegger" userId="7f2052fac20aabcc" providerId="LiveId" clId="{8168FD09-3A28-41E9-8064-32E2821D165F}" dt="2023-03-24T08:41:19.096" v="3349" actId="20577"/>
          <ac:spMkLst>
            <pc:docMk/>
            <pc:sldMk cId="3225741853" sldId="1532"/>
            <ac:spMk id="7" creationId="{88402065-B0C1-1FFD-5746-47118007C7AA}"/>
          </ac:spMkLst>
        </pc:spChg>
        <pc:spChg chg="mod">
          <ac:chgData name="Dominik Buchegger" userId="7f2052fac20aabcc" providerId="LiveId" clId="{8168FD09-3A28-41E9-8064-32E2821D165F}" dt="2023-03-24T08:31:37.460" v="2293" actId="1076"/>
          <ac:spMkLst>
            <pc:docMk/>
            <pc:sldMk cId="3225741853" sldId="1532"/>
            <ac:spMk id="9" creationId="{34362B25-9F4C-89DC-157D-3D8145E086C7}"/>
          </ac:spMkLst>
        </pc:spChg>
        <pc:spChg chg="mod">
          <ac:chgData name="Dominik Buchegger" userId="7f2052fac20aabcc" providerId="LiveId" clId="{8168FD09-3A28-41E9-8064-32E2821D165F}" dt="2023-03-24T08:31:40.214" v="2294" actId="1036"/>
          <ac:spMkLst>
            <pc:docMk/>
            <pc:sldMk cId="3225741853" sldId="1532"/>
            <ac:spMk id="10" creationId="{D22D5D8D-D185-65BD-F898-745062A80542}"/>
          </ac:spMkLst>
        </pc:spChg>
      </pc:sldChg>
      <pc:sldChg chg="new del">
        <pc:chgData name="Dominik Buchegger" userId="7f2052fac20aabcc" providerId="LiveId" clId="{8168FD09-3A28-41E9-8064-32E2821D165F}" dt="2023-03-27T07:21:08.050" v="5887" actId="47"/>
        <pc:sldMkLst>
          <pc:docMk/>
          <pc:sldMk cId="2331723485" sldId="1533"/>
        </pc:sldMkLst>
      </pc:sldChg>
      <pc:sldChg chg="addSp delSp modSp new mod modClrScheme chgLayout">
        <pc:chgData name="Dominik Buchegger" userId="7f2052fac20aabcc" providerId="LiveId" clId="{8168FD09-3A28-41E9-8064-32E2821D165F}" dt="2023-03-27T07:18:26.676" v="5636" actId="313"/>
        <pc:sldMkLst>
          <pc:docMk/>
          <pc:sldMk cId="1987410233" sldId="1534"/>
        </pc:sldMkLst>
        <pc:spChg chg="mod ord">
          <ac:chgData name="Dominik Buchegger" userId="7f2052fac20aabcc" providerId="LiveId" clId="{8168FD09-3A28-41E9-8064-32E2821D165F}" dt="2023-03-27T06:51:44.532" v="3480" actId="700"/>
          <ac:spMkLst>
            <pc:docMk/>
            <pc:sldMk cId="1987410233" sldId="1534"/>
            <ac:spMk id="2" creationId="{5BAD5637-8864-D3C6-040D-E6E84DF2E0BA}"/>
          </ac:spMkLst>
        </pc:spChg>
        <pc:spChg chg="del mod ord">
          <ac:chgData name="Dominik Buchegger" userId="7f2052fac20aabcc" providerId="LiveId" clId="{8168FD09-3A28-41E9-8064-32E2821D165F}" dt="2023-03-27T06:51:44.532" v="3480" actId="700"/>
          <ac:spMkLst>
            <pc:docMk/>
            <pc:sldMk cId="1987410233" sldId="1534"/>
            <ac:spMk id="3" creationId="{69DC3377-3E62-7E0C-BC39-D55356FC11AE}"/>
          </ac:spMkLst>
        </pc:spChg>
        <pc:spChg chg="del mod ord">
          <ac:chgData name="Dominik Buchegger" userId="7f2052fac20aabcc" providerId="LiveId" clId="{8168FD09-3A28-41E9-8064-32E2821D165F}" dt="2023-03-27T06:51:44.532" v="3480" actId="700"/>
          <ac:spMkLst>
            <pc:docMk/>
            <pc:sldMk cId="1987410233" sldId="1534"/>
            <ac:spMk id="4" creationId="{CADA8227-F42B-2DFF-03AE-F6C444036C1B}"/>
          </ac:spMkLst>
        </pc:spChg>
        <pc:spChg chg="mod ord">
          <ac:chgData name="Dominik Buchegger" userId="7f2052fac20aabcc" providerId="LiveId" clId="{8168FD09-3A28-41E9-8064-32E2821D165F}" dt="2023-03-27T06:51:44.532" v="3480" actId="700"/>
          <ac:spMkLst>
            <pc:docMk/>
            <pc:sldMk cId="1987410233" sldId="1534"/>
            <ac:spMk id="5" creationId="{4A3FEDF1-B209-2722-A9CF-CCD8E8697273}"/>
          </ac:spMkLst>
        </pc:spChg>
        <pc:spChg chg="del mod ord">
          <ac:chgData name="Dominik Buchegger" userId="7f2052fac20aabcc" providerId="LiveId" clId="{8168FD09-3A28-41E9-8064-32E2821D165F}" dt="2023-03-27T06:51:44.532" v="3480" actId="700"/>
          <ac:spMkLst>
            <pc:docMk/>
            <pc:sldMk cId="1987410233" sldId="1534"/>
            <ac:spMk id="6" creationId="{189D8715-CBB5-AE4D-357A-4CF00A82A043}"/>
          </ac:spMkLst>
        </pc:spChg>
        <pc:spChg chg="del mod ord">
          <ac:chgData name="Dominik Buchegger" userId="7f2052fac20aabcc" providerId="LiveId" clId="{8168FD09-3A28-41E9-8064-32E2821D165F}" dt="2023-03-27T06:51:44.532" v="3480" actId="700"/>
          <ac:spMkLst>
            <pc:docMk/>
            <pc:sldMk cId="1987410233" sldId="1534"/>
            <ac:spMk id="7" creationId="{C599F0DB-6221-7D02-32BE-82F7852284C3}"/>
          </ac:spMkLst>
        </pc:spChg>
        <pc:spChg chg="del mod ord">
          <ac:chgData name="Dominik Buchegger" userId="7f2052fac20aabcc" providerId="LiveId" clId="{8168FD09-3A28-41E9-8064-32E2821D165F}" dt="2023-03-27T06:51:44.532" v="3480" actId="700"/>
          <ac:spMkLst>
            <pc:docMk/>
            <pc:sldMk cId="1987410233" sldId="1534"/>
            <ac:spMk id="8" creationId="{93F8ADDF-294C-0A53-1680-80DC4398A99E}"/>
          </ac:spMkLst>
        </pc:spChg>
        <pc:spChg chg="add mod ord">
          <ac:chgData name="Dominik Buchegger" userId="7f2052fac20aabcc" providerId="LiveId" clId="{8168FD09-3A28-41E9-8064-32E2821D165F}" dt="2023-03-27T07:04:02.988" v="4367" actId="20577"/>
          <ac:spMkLst>
            <pc:docMk/>
            <pc:sldMk cId="1987410233" sldId="1534"/>
            <ac:spMk id="9" creationId="{29596F6B-767B-0B7C-B4C3-62792847DDD0}"/>
          </ac:spMkLst>
        </pc:spChg>
        <pc:spChg chg="add mod ord">
          <ac:chgData name="Dominik Buchegger" userId="7f2052fac20aabcc" providerId="LiveId" clId="{8168FD09-3A28-41E9-8064-32E2821D165F}" dt="2023-03-27T07:01:57.037" v="4291" actId="20577"/>
          <ac:spMkLst>
            <pc:docMk/>
            <pc:sldMk cId="1987410233" sldId="1534"/>
            <ac:spMk id="10" creationId="{F5FB8E51-CCDD-664A-3148-19850B774843}"/>
          </ac:spMkLst>
        </pc:spChg>
        <pc:spChg chg="add mod ord">
          <ac:chgData name="Dominik Buchegger" userId="7f2052fac20aabcc" providerId="LiveId" clId="{8168FD09-3A28-41E9-8064-32E2821D165F}" dt="2023-03-27T06:51:44.532" v="3480" actId="700"/>
          <ac:spMkLst>
            <pc:docMk/>
            <pc:sldMk cId="1987410233" sldId="1534"/>
            <ac:spMk id="11" creationId="{95C5AF82-7A9C-B2F0-720C-2E1133664792}"/>
          </ac:spMkLst>
        </pc:spChg>
        <pc:spChg chg="add mod ord">
          <ac:chgData name="Dominik Buchegger" userId="7f2052fac20aabcc" providerId="LiveId" clId="{8168FD09-3A28-41E9-8064-32E2821D165F}" dt="2023-03-27T07:18:26.676" v="5636" actId="313"/>
          <ac:spMkLst>
            <pc:docMk/>
            <pc:sldMk cId="1987410233" sldId="1534"/>
            <ac:spMk id="12" creationId="{C1B65844-8C14-5DE9-F30E-D3B47C5EADE0}"/>
          </ac:spMkLst>
        </pc:spChg>
        <pc:spChg chg="add mod ord">
          <ac:chgData name="Dominik Buchegger" userId="7f2052fac20aabcc" providerId="LiveId" clId="{8168FD09-3A28-41E9-8064-32E2821D165F}" dt="2023-03-27T06:51:55.492" v="3505" actId="20577"/>
          <ac:spMkLst>
            <pc:docMk/>
            <pc:sldMk cId="1987410233" sldId="1534"/>
            <ac:spMk id="13" creationId="{B68DE289-F23A-7878-EFFE-997DBBA4E356}"/>
          </ac:spMkLst>
        </pc:spChg>
        <pc:spChg chg="add mod ord">
          <ac:chgData name="Dominik Buchegger" userId="7f2052fac20aabcc" providerId="LiveId" clId="{8168FD09-3A28-41E9-8064-32E2821D165F}" dt="2023-03-27T06:52:01.880" v="3510" actId="20577"/>
          <ac:spMkLst>
            <pc:docMk/>
            <pc:sldMk cId="1987410233" sldId="1534"/>
            <ac:spMk id="14" creationId="{734780B2-F44B-63A7-00D9-686ACD7BE1C4}"/>
          </ac:spMkLst>
        </pc:spChg>
        <pc:spChg chg="add mod ord">
          <ac:chgData name="Dominik Buchegger" userId="7f2052fac20aabcc" providerId="LiveId" clId="{8168FD09-3A28-41E9-8064-32E2821D165F}" dt="2023-03-27T06:51:44.532" v="3480" actId="700"/>
          <ac:spMkLst>
            <pc:docMk/>
            <pc:sldMk cId="1987410233" sldId="1534"/>
            <ac:spMk id="15" creationId="{8EE85BDB-99DE-D16A-195A-4CCA8DB7BEE6}"/>
          </ac:spMkLst>
        </pc:spChg>
      </pc:sldChg>
      <pc:sldChg chg="modSp add mod">
        <pc:chgData name="Dominik Buchegger" userId="7f2052fac20aabcc" providerId="LiveId" clId="{8168FD09-3A28-41E9-8064-32E2821D165F}" dt="2023-03-27T07:19:27.010" v="5846" actId="20577"/>
        <pc:sldMkLst>
          <pc:docMk/>
          <pc:sldMk cId="1281915614" sldId="1535"/>
        </pc:sldMkLst>
        <pc:spChg chg="mod">
          <ac:chgData name="Dominik Buchegger" userId="7f2052fac20aabcc" providerId="LiveId" clId="{8168FD09-3A28-41E9-8064-32E2821D165F}" dt="2023-03-27T07:02:39.973" v="4313" actId="20577"/>
          <ac:spMkLst>
            <pc:docMk/>
            <pc:sldMk cId="1281915614" sldId="1535"/>
            <ac:spMk id="2" creationId="{5BAD5637-8864-D3C6-040D-E6E84DF2E0BA}"/>
          </ac:spMkLst>
        </pc:spChg>
        <pc:spChg chg="mod">
          <ac:chgData name="Dominik Buchegger" userId="7f2052fac20aabcc" providerId="LiveId" clId="{8168FD09-3A28-41E9-8064-32E2821D165F}" dt="2023-03-27T07:10:29.658" v="4865" actId="20577"/>
          <ac:spMkLst>
            <pc:docMk/>
            <pc:sldMk cId="1281915614" sldId="1535"/>
            <ac:spMk id="9" creationId="{29596F6B-767B-0B7C-B4C3-62792847DDD0}"/>
          </ac:spMkLst>
        </pc:spChg>
        <pc:spChg chg="mod">
          <ac:chgData name="Dominik Buchegger" userId="7f2052fac20aabcc" providerId="LiveId" clId="{8168FD09-3A28-41E9-8064-32E2821D165F}" dt="2023-03-27T07:14:26.362" v="5322" actId="20577"/>
          <ac:spMkLst>
            <pc:docMk/>
            <pc:sldMk cId="1281915614" sldId="1535"/>
            <ac:spMk id="10" creationId="{F5FB8E51-CCDD-664A-3148-19850B774843}"/>
          </ac:spMkLst>
        </pc:spChg>
        <pc:spChg chg="mod">
          <ac:chgData name="Dominik Buchegger" userId="7f2052fac20aabcc" providerId="LiveId" clId="{8168FD09-3A28-41E9-8064-32E2821D165F}" dt="2023-03-27T07:19:27.010" v="5846" actId="20577"/>
          <ac:spMkLst>
            <pc:docMk/>
            <pc:sldMk cId="1281915614" sldId="1535"/>
            <ac:spMk id="12" creationId="{C1B65844-8C14-5DE9-F30E-D3B47C5EADE0}"/>
          </ac:spMkLst>
        </pc:spChg>
        <pc:spChg chg="mod">
          <ac:chgData name="Dominik Buchegger" userId="7f2052fac20aabcc" providerId="LiveId" clId="{8168FD09-3A28-41E9-8064-32E2821D165F}" dt="2023-03-27T07:03:18.760" v="4355" actId="14100"/>
          <ac:spMkLst>
            <pc:docMk/>
            <pc:sldMk cId="1281915614" sldId="1535"/>
            <ac:spMk id="13" creationId="{B68DE289-F23A-7878-EFFE-997DBBA4E356}"/>
          </ac:spMkLst>
        </pc:spChg>
        <pc:spChg chg="mod">
          <ac:chgData name="Dominik Buchegger" userId="7f2052fac20aabcc" providerId="LiveId" clId="{8168FD09-3A28-41E9-8064-32E2821D165F}" dt="2023-03-27T07:03:10.391" v="4352" actId="14100"/>
          <ac:spMkLst>
            <pc:docMk/>
            <pc:sldMk cId="1281915614" sldId="1535"/>
            <ac:spMk id="14" creationId="{734780B2-F44B-63A7-00D9-686ACD7BE1C4}"/>
          </ac:spMkLst>
        </pc:spChg>
      </pc:sldChg>
      <pc:sldChg chg="modSp new mod">
        <pc:chgData name="Dominik Buchegger" userId="7f2052fac20aabcc" providerId="LiveId" clId="{8168FD09-3A28-41E9-8064-32E2821D165F}" dt="2023-03-27T07:21:01.241" v="5886" actId="13926"/>
        <pc:sldMkLst>
          <pc:docMk/>
          <pc:sldMk cId="1961197189" sldId="1536"/>
        </pc:sldMkLst>
        <pc:spChg chg="mod">
          <ac:chgData name="Dominik Buchegger" userId="7f2052fac20aabcc" providerId="LiveId" clId="{8168FD09-3A28-41E9-8064-32E2821D165F}" dt="2023-03-27T07:21:01.241" v="5886" actId="13926"/>
          <ac:spMkLst>
            <pc:docMk/>
            <pc:sldMk cId="1961197189" sldId="1536"/>
            <ac:spMk id="2" creationId="{3DA0A8C0-B1E8-3F31-A07C-2F18EDEC2F6C}"/>
          </ac:spMkLst>
        </pc:spChg>
      </pc:sldChg>
      <pc:sldChg chg="add del">
        <pc:chgData name="Dominik Buchegger" userId="7f2052fac20aabcc" providerId="LiveId" clId="{8168FD09-3A28-41E9-8064-32E2821D165F}" dt="2023-03-27T07:19:49.117" v="5848" actId="47"/>
        <pc:sldMkLst>
          <pc:docMk/>
          <pc:sldMk cId="3038859849" sldId="1536"/>
        </pc:sldMkLst>
      </pc:sldChg>
      <pc:sldChg chg="modSp new mod">
        <pc:chgData name="Dominik Buchegger" userId="7f2052fac20aabcc" providerId="LiveId" clId="{8168FD09-3A28-41E9-8064-32E2821D165F}" dt="2023-03-27T07:21:35.656" v="5892" actId="20577"/>
        <pc:sldMkLst>
          <pc:docMk/>
          <pc:sldMk cId="3241705055" sldId="1537"/>
        </pc:sldMkLst>
        <pc:spChg chg="mod">
          <ac:chgData name="Dominik Buchegger" userId="7f2052fac20aabcc" providerId="LiveId" clId="{8168FD09-3A28-41E9-8064-32E2821D165F}" dt="2023-03-27T07:21:35.656" v="5892" actId="20577"/>
          <ac:spMkLst>
            <pc:docMk/>
            <pc:sldMk cId="3241705055" sldId="1537"/>
            <ac:spMk id="2" creationId="{A92E3E48-FF8A-5E4C-67CC-8B0608A09C2C}"/>
          </ac:spMkLst>
        </pc:spChg>
      </pc:sldChg>
      <pc:sldChg chg="addSp delSp modSp new mod modClrScheme chgLayout">
        <pc:chgData name="Dominik Buchegger" userId="7f2052fac20aabcc" providerId="LiveId" clId="{8168FD09-3A28-41E9-8064-32E2821D165F}" dt="2023-03-27T07:37:00.152" v="6822" actId="20577"/>
        <pc:sldMkLst>
          <pc:docMk/>
          <pc:sldMk cId="3597719166" sldId="1538"/>
        </pc:sldMkLst>
        <pc:spChg chg="mod ord">
          <ac:chgData name="Dominik Buchegger" userId="7f2052fac20aabcc" providerId="LiveId" clId="{8168FD09-3A28-41E9-8064-32E2821D165F}" dt="2023-03-27T07:29:56.955" v="6041" actId="700"/>
          <ac:spMkLst>
            <pc:docMk/>
            <pc:sldMk cId="3597719166" sldId="1538"/>
            <ac:spMk id="2" creationId="{EB81F7F3-58A2-3A08-8869-1DB275069E48}"/>
          </ac:spMkLst>
        </pc:spChg>
        <pc:spChg chg="add del mod ord">
          <ac:chgData name="Dominik Buchegger" userId="7f2052fac20aabcc" providerId="LiveId" clId="{8168FD09-3A28-41E9-8064-32E2821D165F}" dt="2023-03-27T07:29:56.955" v="6041" actId="700"/>
          <ac:spMkLst>
            <pc:docMk/>
            <pc:sldMk cId="3597719166" sldId="1538"/>
            <ac:spMk id="3" creationId="{1FAD4498-DE41-1C32-5BEC-2ED07223D376}"/>
          </ac:spMkLst>
        </pc:spChg>
        <pc:spChg chg="add del">
          <ac:chgData name="Dominik Buchegger" userId="7f2052fac20aabcc" providerId="LiveId" clId="{8168FD09-3A28-41E9-8064-32E2821D165F}" dt="2023-03-27T07:25:28.593" v="5901" actId="931"/>
          <ac:spMkLst>
            <pc:docMk/>
            <pc:sldMk cId="3597719166" sldId="1538"/>
            <ac:spMk id="4" creationId="{195E576B-E060-4B58-E760-32D603B2671D}"/>
          </ac:spMkLst>
        </pc:spChg>
        <pc:spChg chg="add del mod ord">
          <ac:chgData name="Dominik Buchegger" userId="7f2052fac20aabcc" providerId="LiveId" clId="{8168FD09-3A28-41E9-8064-32E2821D165F}" dt="2023-03-27T07:29:48.655" v="6039" actId="700"/>
          <ac:spMkLst>
            <pc:docMk/>
            <pc:sldMk cId="3597719166" sldId="1538"/>
            <ac:spMk id="8" creationId="{23F7ADF5-BE81-3693-4832-EE11658A9B09}"/>
          </ac:spMkLst>
        </pc:spChg>
        <pc:spChg chg="add del mod ord">
          <ac:chgData name="Dominik Buchegger" userId="7f2052fac20aabcc" providerId="LiveId" clId="{8168FD09-3A28-41E9-8064-32E2821D165F}" dt="2023-03-27T07:29:48.655" v="6039" actId="700"/>
          <ac:spMkLst>
            <pc:docMk/>
            <pc:sldMk cId="3597719166" sldId="1538"/>
            <ac:spMk id="9" creationId="{412969E5-7668-8D6B-D58E-A32A73719EC5}"/>
          </ac:spMkLst>
        </pc:spChg>
        <pc:spChg chg="add del mod ord">
          <ac:chgData name="Dominik Buchegger" userId="7f2052fac20aabcc" providerId="LiveId" clId="{8168FD09-3A28-41E9-8064-32E2821D165F}" dt="2023-03-27T07:29:48.655" v="6039" actId="700"/>
          <ac:spMkLst>
            <pc:docMk/>
            <pc:sldMk cId="3597719166" sldId="1538"/>
            <ac:spMk id="10" creationId="{EBCE1BE5-E929-9FBD-AAC3-158343E4F72E}"/>
          </ac:spMkLst>
        </pc:spChg>
        <pc:spChg chg="add del mod ord">
          <ac:chgData name="Dominik Buchegger" userId="7f2052fac20aabcc" providerId="LiveId" clId="{8168FD09-3A28-41E9-8064-32E2821D165F}" dt="2023-03-27T07:29:56.955" v="6041" actId="700"/>
          <ac:spMkLst>
            <pc:docMk/>
            <pc:sldMk cId="3597719166" sldId="1538"/>
            <ac:spMk id="12" creationId="{A316E49B-B572-8169-07FD-C03F64A41EDD}"/>
          </ac:spMkLst>
        </pc:spChg>
        <pc:spChg chg="add mod ord">
          <ac:chgData name="Dominik Buchegger" userId="7f2052fac20aabcc" providerId="LiveId" clId="{8168FD09-3A28-41E9-8064-32E2821D165F}" dt="2023-03-27T07:37:00.152" v="6822" actId="20577"/>
          <ac:spMkLst>
            <pc:docMk/>
            <pc:sldMk cId="3597719166" sldId="1538"/>
            <ac:spMk id="13" creationId="{341B568B-6BCB-24BA-2EC7-685849C464EA}"/>
          </ac:spMkLst>
        </pc:spChg>
        <pc:spChg chg="add mod ord">
          <ac:chgData name="Dominik Buchegger" userId="7f2052fac20aabcc" providerId="LiveId" clId="{8168FD09-3A28-41E9-8064-32E2821D165F}" dt="2023-03-27T07:29:56.955" v="6041" actId="700"/>
          <ac:spMkLst>
            <pc:docMk/>
            <pc:sldMk cId="3597719166" sldId="1538"/>
            <ac:spMk id="14" creationId="{F6341858-33A0-4F9F-20E0-2525BE7FA6C4}"/>
          </ac:spMkLst>
        </pc:spChg>
        <pc:spChg chg="add mod ord">
          <ac:chgData name="Dominik Buchegger" userId="7f2052fac20aabcc" providerId="LiveId" clId="{8168FD09-3A28-41E9-8064-32E2821D165F}" dt="2023-03-27T07:30:30.381" v="6109" actId="20577"/>
          <ac:spMkLst>
            <pc:docMk/>
            <pc:sldMk cId="3597719166" sldId="1538"/>
            <ac:spMk id="15" creationId="{B7D5B10C-CDD1-D8B6-D19B-C2B8C53F618E}"/>
          </ac:spMkLst>
        </pc:spChg>
        <pc:spChg chg="add mod ord">
          <ac:chgData name="Dominik Buchegger" userId="7f2052fac20aabcc" providerId="LiveId" clId="{8168FD09-3A28-41E9-8064-32E2821D165F}" dt="2023-03-27T07:29:56.955" v="6041" actId="700"/>
          <ac:spMkLst>
            <pc:docMk/>
            <pc:sldMk cId="3597719166" sldId="1538"/>
            <ac:spMk id="16" creationId="{FD661388-9276-6E0E-121A-4FAC22048338}"/>
          </ac:spMkLst>
        </pc:spChg>
        <pc:spChg chg="add mod">
          <ac:chgData name="Dominik Buchegger" userId="7f2052fac20aabcc" providerId="LiveId" clId="{8168FD09-3A28-41E9-8064-32E2821D165F}" dt="2023-03-27T07:32:31.848" v="6279" actId="1076"/>
          <ac:spMkLst>
            <pc:docMk/>
            <pc:sldMk cId="3597719166" sldId="1538"/>
            <ac:spMk id="20" creationId="{48B2BEFE-7E6B-86AC-DBA8-2A6C6263FDA6}"/>
          </ac:spMkLst>
        </pc:spChg>
        <pc:picChg chg="add del mod">
          <ac:chgData name="Dominik Buchegger" userId="7f2052fac20aabcc" providerId="LiveId" clId="{8168FD09-3A28-41E9-8064-32E2821D165F}" dt="2023-03-27T07:25:02.561" v="5900"/>
          <ac:picMkLst>
            <pc:docMk/>
            <pc:sldMk cId="3597719166" sldId="1538"/>
            <ac:picMk id="5" creationId="{8FCA50D3-8C9C-8A7E-5680-1D8B41DE6E80}"/>
          </ac:picMkLst>
        </pc:picChg>
        <pc:picChg chg="add del mod ord modCrop">
          <ac:chgData name="Dominik Buchegger" userId="7f2052fac20aabcc" providerId="LiveId" clId="{8168FD09-3A28-41E9-8064-32E2821D165F}" dt="2023-03-27T07:29:50.993" v="6040" actId="21"/>
          <ac:picMkLst>
            <pc:docMk/>
            <pc:sldMk cId="3597719166" sldId="1538"/>
            <ac:picMk id="7" creationId="{A91B31A0-61CC-10B3-8588-C845A754CFC3}"/>
          </ac:picMkLst>
        </pc:picChg>
        <pc:picChg chg="add mod modCrop">
          <ac:chgData name="Dominik Buchegger" userId="7f2052fac20aabcc" providerId="LiveId" clId="{8168FD09-3A28-41E9-8064-32E2821D165F}" dt="2023-03-27T07:36:55.821" v="6821" actId="732"/>
          <ac:picMkLst>
            <pc:docMk/>
            <pc:sldMk cId="3597719166" sldId="1538"/>
            <ac:picMk id="17" creationId="{91F075FB-2D1B-5320-4EC7-F7596E976911}"/>
          </ac:picMkLst>
        </pc:picChg>
        <pc:picChg chg="add del mod modCrop">
          <ac:chgData name="Dominik Buchegger" userId="7f2052fac20aabcc" providerId="LiveId" clId="{8168FD09-3A28-41E9-8064-32E2821D165F}" dt="2023-03-27T07:36:01.344" v="6764" actId="478"/>
          <ac:picMkLst>
            <pc:docMk/>
            <pc:sldMk cId="3597719166" sldId="1538"/>
            <ac:picMk id="18" creationId="{C2581B8A-919C-DEFC-2E97-ACD553E1ED80}"/>
          </ac:picMkLst>
        </pc:picChg>
        <pc:picChg chg="add del mod">
          <ac:chgData name="Dominik Buchegger" userId="7f2052fac20aabcc" providerId="LiveId" clId="{8168FD09-3A28-41E9-8064-32E2821D165F}" dt="2023-03-27T07:31:48.087" v="6225" actId="478"/>
          <ac:picMkLst>
            <pc:docMk/>
            <pc:sldMk cId="3597719166" sldId="1538"/>
            <ac:picMk id="19" creationId="{363E2249-5CE1-1BB4-8C50-90938F27AB31}"/>
          </ac:picMkLst>
        </pc:picChg>
      </pc:sldChg>
      <pc:sldChg chg="new del">
        <pc:chgData name="Dominik Buchegger" userId="7f2052fac20aabcc" providerId="LiveId" clId="{8168FD09-3A28-41E9-8064-32E2821D165F}" dt="2023-03-27T07:27:48.695" v="5989" actId="47"/>
        <pc:sldMkLst>
          <pc:docMk/>
          <pc:sldMk cId="306205543" sldId="1539"/>
        </pc:sldMkLst>
      </pc:sldChg>
      <pc:sldChg chg="addSp modSp new del mod">
        <pc:chgData name="Dominik Buchegger" userId="7f2052fac20aabcc" providerId="LiveId" clId="{8168FD09-3A28-41E9-8064-32E2821D165F}" dt="2023-03-27T07:29:17.387" v="6037" actId="47"/>
        <pc:sldMkLst>
          <pc:docMk/>
          <pc:sldMk cId="863157737" sldId="1539"/>
        </pc:sldMkLst>
        <pc:spChg chg="mod">
          <ac:chgData name="Dominik Buchegger" userId="7f2052fac20aabcc" providerId="LiveId" clId="{8168FD09-3A28-41E9-8064-32E2821D165F}" dt="2023-03-27T07:29:00.975" v="6035"/>
          <ac:spMkLst>
            <pc:docMk/>
            <pc:sldMk cId="863157737" sldId="1539"/>
            <ac:spMk id="2" creationId="{1E042B3D-9B0A-CF2C-8415-A4834FE6ED78}"/>
          </ac:spMkLst>
        </pc:spChg>
        <pc:picChg chg="add mod">
          <ac:chgData name="Dominik Buchegger" userId="7f2052fac20aabcc" providerId="LiveId" clId="{8168FD09-3A28-41E9-8064-32E2821D165F}" dt="2023-03-27T07:29:09.137" v="6036"/>
          <ac:picMkLst>
            <pc:docMk/>
            <pc:sldMk cId="863157737" sldId="1539"/>
            <ac:picMk id="5" creationId="{C82F2AAA-EED0-171D-5817-1B81D05D722E}"/>
          </ac:picMkLst>
        </pc:picChg>
      </pc:sldChg>
      <pc:sldChg chg="addSp delSp modSp new mod ord modClrScheme chgLayout">
        <pc:chgData name="Dominik Buchegger" userId="7f2052fac20aabcc" providerId="LiveId" clId="{8168FD09-3A28-41E9-8064-32E2821D165F}" dt="2023-03-27T07:46:37.877" v="7225" actId="20578"/>
        <pc:sldMkLst>
          <pc:docMk/>
          <pc:sldMk cId="3806684549" sldId="1539"/>
        </pc:sldMkLst>
        <pc:spChg chg="mod ord">
          <ac:chgData name="Dominik Buchegger" userId="7f2052fac20aabcc" providerId="LiveId" clId="{8168FD09-3A28-41E9-8064-32E2821D165F}" dt="2023-03-27T07:45:33.223" v="7190" actId="700"/>
          <ac:spMkLst>
            <pc:docMk/>
            <pc:sldMk cId="3806684549" sldId="1539"/>
            <ac:spMk id="2" creationId="{D00D008C-7E34-0616-BFF0-6888EA69FFB1}"/>
          </ac:spMkLst>
        </pc:spChg>
        <pc:spChg chg="mod ord">
          <ac:chgData name="Dominik Buchegger" userId="7f2052fac20aabcc" providerId="LiveId" clId="{8168FD09-3A28-41E9-8064-32E2821D165F}" dt="2023-03-27T07:45:33.860" v="7204" actId="14100"/>
          <ac:spMkLst>
            <pc:docMk/>
            <pc:sldMk cId="3806684549" sldId="1539"/>
            <ac:spMk id="3" creationId="{5E96A1BB-DBDB-1013-8DE9-1EA3FC07B5F4}"/>
          </ac:spMkLst>
        </pc:spChg>
        <pc:spChg chg="mod ord">
          <ac:chgData name="Dominik Buchegger" userId="7f2052fac20aabcc" providerId="LiveId" clId="{8168FD09-3A28-41E9-8064-32E2821D165F}" dt="2023-03-27T07:45:33.223" v="7190" actId="700"/>
          <ac:spMkLst>
            <pc:docMk/>
            <pc:sldMk cId="3806684549" sldId="1539"/>
            <ac:spMk id="4" creationId="{8EA76E99-079E-3189-0CF3-8C6D533FBCFB}"/>
          </ac:spMkLst>
        </pc:spChg>
        <pc:spChg chg="add del mod ord">
          <ac:chgData name="Dominik Buchegger" userId="7f2052fac20aabcc" providerId="LiveId" clId="{8168FD09-3A28-41E9-8064-32E2821D165F}" dt="2023-03-27T07:45:33.223" v="7190" actId="700"/>
          <ac:spMkLst>
            <pc:docMk/>
            <pc:sldMk cId="3806684549" sldId="1539"/>
            <ac:spMk id="5" creationId="{60F22017-D6D0-5489-2313-E1648CFA82EC}"/>
          </ac:spMkLst>
        </pc:spChg>
        <pc:spChg chg="add del">
          <ac:chgData name="Dominik Buchegger" userId="7f2052fac20aabcc" providerId="LiveId" clId="{8168FD09-3A28-41E9-8064-32E2821D165F}" dt="2023-03-27T07:45:33.223" v="7190" actId="700"/>
          <ac:spMkLst>
            <pc:docMk/>
            <pc:sldMk cId="3806684549" sldId="1539"/>
            <ac:spMk id="6" creationId="{B7DA4107-20DB-4907-F968-0A9B8B761797}"/>
          </ac:spMkLst>
        </pc:spChg>
        <pc:spChg chg="add del">
          <ac:chgData name="Dominik Buchegger" userId="7f2052fac20aabcc" providerId="LiveId" clId="{8168FD09-3A28-41E9-8064-32E2821D165F}" dt="2023-03-27T07:45:33.223" v="7190" actId="700"/>
          <ac:spMkLst>
            <pc:docMk/>
            <pc:sldMk cId="3806684549" sldId="1539"/>
            <ac:spMk id="7" creationId="{9E1A83C6-6F7A-2F27-E4B7-246284F09923}"/>
          </ac:spMkLst>
        </pc:spChg>
        <pc:spChg chg="add del mod ord">
          <ac:chgData name="Dominik Buchegger" userId="7f2052fac20aabcc" providerId="LiveId" clId="{8168FD09-3A28-41E9-8064-32E2821D165F}" dt="2023-03-27T07:45:33.223" v="7190" actId="700"/>
          <ac:spMkLst>
            <pc:docMk/>
            <pc:sldMk cId="3806684549" sldId="1539"/>
            <ac:spMk id="13" creationId="{7EE0A940-0E45-5B2C-4BD0-65B9695C2410}"/>
          </ac:spMkLst>
        </pc:spChg>
        <pc:picChg chg="add del mod">
          <ac:chgData name="Dominik Buchegger" userId="7f2052fac20aabcc" providerId="LiveId" clId="{8168FD09-3A28-41E9-8064-32E2821D165F}" dt="2023-03-27T07:37:50.230" v="6852"/>
          <ac:picMkLst>
            <pc:docMk/>
            <pc:sldMk cId="3806684549" sldId="1539"/>
            <ac:picMk id="8" creationId="{EA76AEB5-DFCD-3471-4F7A-69B3DEB88294}"/>
          </ac:picMkLst>
        </pc:picChg>
        <pc:picChg chg="add del mod">
          <ac:chgData name="Dominik Buchegger" userId="7f2052fac20aabcc" providerId="LiveId" clId="{8168FD09-3A28-41E9-8064-32E2821D165F}" dt="2023-03-27T07:42:35.995" v="7096" actId="478"/>
          <ac:picMkLst>
            <pc:docMk/>
            <pc:sldMk cId="3806684549" sldId="1539"/>
            <ac:picMk id="9" creationId="{9ECB5A04-70E6-4BE8-1457-38E39F06262F}"/>
          </ac:picMkLst>
        </pc:picChg>
        <pc:picChg chg="add mod modCrop">
          <ac:chgData name="Dominik Buchegger" userId="7f2052fac20aabcc" providerId="LiveId" clId="{8168FD09-3A28-41E9-8064-32E2821D165F}" dt="2023-03-27T07:45:33.922" v="7205" actId="1037"/>
          <ac:picMkLst>
            <pc:docMk/>
            <pc:sldMk cId="3806684549" sldId="1539"/>
            <ac:picMk id="10" creationId="{60D7B0F1-77F9-4BF7-E599-D62DB2ADBA1E}"/>
          </ac:picMkLst>
        </pc:picChg>
        <pc:picChg chg="add mod">
          <ac:chgData name="Dominik Buchegger" userId="7f2052fac20aabcc" providerId="LiveId" clId="{8168FD09-3A28-41E9-8064-32E2821D165F}" dt="2023-03-27T07:45:32.631" v="7187" actId="1076"/>
          <ac:picMkLst>
            <pc:docMk/>
            <pc:sldMk cId="3806684549" sldId="1539"/>
            <ac:picMk id="11" creationId="{402B0323-90AC-B6FD-24BC-A2D9CAE5EE1C}"/>
          </ac:picMkLst>
        </pc:picChg>
        <pc:picChg chg="add mod">
          <ac:chgData name="Dominik Buchegger" userId="7f2052fac20aabcc" providerId="LiveId" clId="{8168FD09-3A28-41E9-8064-32E2821D165F}" dt="2023-03-27T07:45:33.176" v="7189" actId="14100"/>
          <ac:picMkLst>
            <pc:docMk/>
            <pc:sldMk cId="3806684549" sldId="1539"/>
            <ac:picMk id="12" creationId="{94000EA5-0D4C-7365-06AA-EA441E0EA460}"/>
          </ac:picMkLst>
        </pc:picChg>
      </pc:sldChg>
      <pc:sldChg chg="new del">
        <pc:chgData name="Dominik Buchegger" userId="7f2052fac20aabcc" providerId="LiveId" clId="{8168FD09-3A28-41E9-8064-32E2821D165F}" dt="2023-03-27T07:46:31.941" v="7220" actId="680"/>
        <pc:sldMkLst>
          <pc:docMk/>
          <pc:sldMk cId="664111935" sldId="1540"/>
        </pc:sldMkLst>
      </pc:sldChg>
      <pc:sldChg chg="addSp delSp modSp new mod">
        <pc:chgData name="Dominik Buchegger" userId="7f2052fac20aabcc" providerId="LiveId" clId="{8168FD09-3A28-41E9-8064-32E2821D165F}" dt="2023-03-27T08:21:55.737" v="9390" actId="20577"/>
        <pc:sldMkLst>
          <pc:docMk/>
          <pc:sldMk cId="2369170133" sldId="1540"/>
        </pc:sldMkLst>
        <pc:spChg chg="mod">
          <ac:chgData name="Dominik Buchegger" userId="7f2052fac20aabcc" providerId="LiveId" clId="{8168FD09-3A28-41E9-8064-32E2821D165F}" dt="2023-03-27T07:46:57.843" v="7245" actId="20577"/>
          <ac:spMkLst>
            <pc:docMk/>
            <pc:sldMk cId="2369170133" sldId="1540"/>
            <ac:spMk id="2" creationId="{B097E4AD-AB51-4D25-BC17-90F3F2800220}"/>
          </ac:spMkLst>
        </pc:spChg>
        <pc:spChg chg="mod">
          <ac:chgData name="Dominik Buchegger" userId="7f2052fac20aabcc" providerId="LiveId" clId="{8168FD09-3A28-41E9-8064-32E2821D165F}" dt="2023-03-27T07:49:01.674" v="7440" actId="20577"/>
          <ac:spMkLst>
            <pc:docMk/>
            <pc:sldMk cId="2369170133" sldId="1540"/>
            <ac:spMk id="3" creationId="{E537F241-2037-E245-915B-DEF7FB7CA03B}"/>
          </ac:spMkLst>
        </pc:spChg>
        <pc:spChg chg="mod">
          <ac:chgData name="Dominik Buchegger" userId="7f2052fac20aabcc" providerId="LiveId" clId="{8168FD09-3A28-41E9-8064-32E2821D165F}" dt="2023-03-27T08:21:55.737" v="9390" actId="20577"/>
          <ac:spMkLst>
            <pc:docMk/>
            <pc:sldMk cId="2369170133" sldId="1540"/>
            <ac:spMk id="6" creationId="{4579D247-7037-12B1-0BA5-80A5BEDCE8E1}"/>
          </ac:spMkLst>
        </pc:spChg>
        <pc:spChg chg="add mod">
          <ac:chgData name="Dominik Buchegger" userId="7f2052fac20aabcc" providerId="LiveId" clId="{8168FD09-3A28-41E9-8064-32E2821D165F}" dt="2023-03-27T07:47:32.518" v="7253" actId="2085"/>
          <ac:spMkLst>
            <pc:docMk/>
            <pc:sldMk cId="2369170133" sldId="1540"/>
            <ac:spMk id="10" creationId="{1545C731-64C4-4AD0-D8C4-1CDE3185B35E}"/>
          </ac:spMkLst>
        </pc:spChg>
        <pc:picChg chg="add del mod">
          <ac:chgData name="Dominik Buchegger" userId="7f2052fac20aabcc" providerId="LiveId" clId="{8168FD09-3A28-41E9-8064-32E2821D165F}" dt="2023-03-27T07:49:02.554" v="7442" actId="478"/>
          <ac:picMkLst>
            <pc:docMk/>
            <pc:sldMk cId="2369170133" sldId="1540"/>
            <ac:picMk id="8" creationId="{F6237336-4999-C5F4-27FC-DEE8FCDFE81B}"/>
          </ac:picMkLst>
        </pc:picChg>
        <pc:picChg chg="add mod">
          <ac:chgData name="Dominik Buchegger" userId="7f2052fac20aabcc" providerId="LiveId" clId="{8168FD09-3A28-41E9-8064-32E2821D165F}" dt="2023-03-27T07:47:17.033" v="7250" actId="1076"/>
          <ac:picMkLst>
            <pc:docMk/>
            <pc:sldMk cId="2369170133" sldId="1540"/>
            <ac:picMk id="9" creationId="{7C34E009-3A44-B70D-45DF-D9C425E14004}"/>
          </ac:picMkLst>
        </pc:picChg>
      </pc:sldChg>
      <pc:sldChg chg="addSp delSp modSp add mod">
        <pc:chgData name="Dominik Buchegger" userId="7f2052fac20aabcc" providerId="LiveId" clId="{8168FD09-3A28-41E9-8064-32E2821D165F}" dt="2023-03-27T08:22:04.977" v="9391" actId="20577"/>
        <pc:sldMkLst>
          <pc:docMk/>
          <pc:sldMk cId="1621850967" sldId="1541"/>
        </pc:sldMkLst>
        <pc:spChg chg="mod">
          <ac:chgData name="Dominik Buchegger" userId="7f2052fac20aabcc" providerId="LiveId" clId="{8168FD09-3A28-41E9-8064-32E2821D165F}" dt="2023-03-27T08:02:52.545" v="8098" actId="20577"/>
          <ac:spMkLst>
            <pc:docMk/>
            <pc:sldMk cId="1621850967" sldId="1541"/>
            <ac:spMk id="2" creationId="{B097E4AD-AB51-4D25-BC17-90F3F2800220}"/>
          </ac:spMkLst>
        </pc:spChg>
        <pc:spChg chg="mod">
          <ac:chgData name="Dominik Buchegger" userId="7f2052fac20aabcc" providerId="LiveId" clId="{8168FD09-3A28-41E9-8064-32E2821D165F}" dt="2023-03-27T07:57:08.117" v="7919" actId="20577"/>
          <ac:spMkLst>
            <pc:docMk/>
            <pc:sldMk cId="1621850967" sldId="1541"/>
            <ac:spMk id="3" creationId="{E537F241-2037-E245-915B-DEF7FB7CA03B}"/>
          </ac:spMkLst>
        </pc:spChg>
        <pc:spChg chg="mod">
          <ac:chgData name="Dominik Buchegger" userId="7f2052fac20aabcc" providerId="LiveId" clId="{8168FD09-3A28-41E9-8064-32E2821D165F}" dt="2023-03-27T08:22:04.977" v="9391" actId="20577"/>
          <ac:spMkLst>
            <pc:docMk/>
            <pc:sldMk cId="1621850967" sldId="1541"/>
            <ac:spMk id="6" creationId="{4579D247-7037-12B1-0BA5-80A5BEDCE8E1}"/>
          </ac:spMkLst>
        </pc:spChg>
        <pc:spChg chg="del">
          <ac:chgData name="Dominik Buchegger" userId="7f2052fac20aabcc" providerId="LiveId" clId="{8168FD09-3A28-41E9-8064-32E2821D165F}" dt="2023-03-27T07:53:32.355" v="7840"/>
          <ac:spMkLst>
            <pc:docMk/>
            <pc:sldMk cId="1621850967" sldId="1541"/>
            <ac:spMk id="7" creationId="{65E84874-8CCA-5CB5-E876-D0A8BED1B7D5}"/>
          </ac:spMkLst>
        </pc:spChg>
        <pc:spChg chg="add mod">
          <ac:chgData name="Dominik Buchegger" userId="7f2052fac20aabcc" providerId="LiveId" clId="{8168FD09-3A28-41E9-8064-32E2821D165F}" dt="2023-03-27T07:50:32.802" v="7570" actId="14100"/>
          <ac:spMkLst>
            <pc:docMk/>
            <pc:sldMk cId="1621850967" sldId="1541"/>
            <ac:spMk id="11" creationId="{1453ED92-3AE9-4166-44F4-ABC2E0918487}"/>
          </ac:spMkLst>
        </pc:spChg>
        <pc:spChg chg="add mod">
          <ac:chgData name="Dominik Buchegger" userId="7f2052fac20aabcc" providerId="LiveId" clId="{8168FD09-3A28-41E9-8064-32E2821D165F}" dt="2023-03-27T07:51:30.579" v="7661" actId="14100"/>
          <ac:spMkLst>
            <pc:docMk/>
            <pc:sldMk cId="1621850967" sldId="1541"/>
            <ac:spMk id="12" creationId="{75675849-AA0E-6A4F-E88B-C5DD3068DB84}"/>
          </ac:spMkLst>
        </pc:spChg>
        <pc:spChg chg="add del mod">
          <ac:chgData name="Dominik Buchegger" userId="7f2052fac20aabcc" providerId="LiveId" clId="{8168FD09-3A28-41E9-8064-32E2821D165F}" dt="2023-03-27T08:00:35.069" v="8068" actId="931"/>
          <ac:spMkLst>
            <pc:docMk/>
            <pc:sldMk cId="1621850967" sldId="1541"/>
            <ac:spMk id="19" creationId="{B7885B21-3D4C-9D5A-0D8B-43F45FE9F5AF}"/>
          </ac:spMkLst>
        </pc:spChg>
        <pc:picChg chg="add mod">
          <ac:chgData name="Dominik Buchegger" userId="7f2052fac20aabcc" providerId="LiveId" clId="{8168FD09-3A28-41E9-8064-32E2821D165F}" dt="2023-03-27T07:50:22.534" v="7567" actId="1076"/>
          <ac:picMkLst>
            <pc:docMk/>
            <pc:sldMk cId="1621850967" sldId="1541"/>
            <ac:picMk id="8" creationId="{B17408CD-80F0-0DCA-F4E1-87887572CAFC}"/>
          </ac:picMkLst>
        </pc:picChg>
        <pc:picChg chg="del">
          <ac:chgData name="Dominik Buchegger" userId="7f2052fac20aabcc" providerId="LiveId" clId="{8168FD09-3A28-41E9-8064-32E2821D165F}" dt="2023-03-27T07:50:17.817" v="7566" actId="478"/>
          <ac:picMkLst>
            <pc:docMk/>
            <pc:sldMk cId="1621850967" sldId="1541"/>
            <ac:picMk id="9" creationId="{7C34E009-3A44-B70D-45DF-D9C425E14004}"/>
          </ac:picMkLst>
        </pc:picChg>
        <pc:picChg chg="add del mod">
          <ac:chgData name="Dominik Buchegger" userId="7f2052fac20aabcc" providerId="LiveId" clId="{8168FD09-3A28-41E9-8064-32E2821D165F}" dt="2023-03-27T07:53:30.557" v="7839" actId="478"/>
          <ac:picMkLst>
            <pc:docMk/>
            <pc:sldMk cId="1621850967" sldId="1541"/>
            <ac:picMk id="13" creationId="{5A68B680-7EBD-E382-4EA2-B60980A18774}"/>
          </ac:picMkLst>
        </pc:picChg>
        <pc:picChg chg="add del mod">
          <ac:chgData name="Dominik Buchegger" userId="7f2052fac20aabcc" providerId="LiveId" clId="{8168FD09-3A28-41E9-8064-32E2821D165F}" dt="2023-03-27T07:54:14.428" v="7868" actId="478"/>
          <ac:picMkLst>
            <pc:docMk/>
            <pc:sldMk cId="1621850967" sldId="1541"/>
            <ac:picMk id="14" creationId="{DFE2A95A-E405-BA90-D129-0A1B45DF1AE1}"/>
          </ac:picMkLst>
        </pc:picChg>
        <pc:picChg chg="add del mod">
          <ac:chgData name="Dominik Buchegger" userId="7f2052fac20aabcc" providerId="LiveId" clId="{8168FD09-3A28-41E9-8064-32E2821D165F}" dt="2023-03-27T07:54:13.211" v="7867" actId="478"/>
          <ac:picMkLst>
            <pc:docMk/>
            <pc:sldMk cId="1621850967" sldId="1541"/>
            <ac:picMk id="15" creationId="{42715158-F3CE-6D94-8D2D-F29574544C53}"/>
          </ac:picMkLst>
        </pc:picChg>
        <pc:picChg chg="add del mod">
          <ac:chgData name="Dominik Buchegger" userId="7f2052fac20aabcc" providerId="LiveId" clId="{8168FD09-3A28-41E9-8064-32E2821D165F}" dt="2023-03-27T07:53:34.061" v="7843" actId="478"/>
          <ac:picMkLst>
            <pc:docMk/>
            <pc:sldMk cId="1621850967" sldId="1541"/>
            <ac:picMk id="17" creationId="{AAFE719B-02AA-5E99-47B5-EB87DC192490}"/>
          </ac:picMkLst>
        </pc:picChg>
        <pc:picChg chg="add del mod">
          <ac:chgData name="Dominik Buchegger" userId="7f2052fac20aabcc" providerId="LiveId" clId="{8168FD09-3A28-41E9-8064-32E2821D165F}" dt="2023-03-27T07:53:53.585" v="7854"/>
          <ac:picMkLst>
            <pc:docMk/>
            <pc:sldMk cId="1621850967" sldId="1541"/>
            <ac:picMk id="21" creationId="{05900B1C-8A27-F6C3-FB0C-270A75618197}"/>
          </ac:picMkLst>
        </pc:picChg>
        <pc:picChg chg="add del mod">
          <ac:chgData name="Dominik Buchegger" userId="7f2052fac20aabcc" providerId="LiveId" clId="{8168FD09-3A28-41E9-8064-32E2821D165F}" dt="2023-03-27T07:53:55.894" v="7856"/>
          <ac:picMkLst>
            <pc:docMk/>
            <pc:sldMk cId="1621850967" sldId="1541"/>
            <ac:picMk id="23" creationId="{18CDCB43-C571-A43F-966D-D5EE34F8B413}"/>
          </ac:picMkLst>
        </pc:picChg>
        <pc:picChg chg="add mod modCrop">
          <ac:chgData name="Dominik Buchegger" userId="7f2052fac20aabcc" providerId="LiveId" clId="{8168FD09-3A28-41E9-8064-32E2821D165F}" dt="2023-03-27T07:56:04.283" v="7891" actId="1076"/>
          <ac:picMkLst>
            <pc:docMk/>
            <pc:sldMk cId="1621850967" sldId="1541"/>
            <ac:picMk id="24" creationId="{762ECB90-64CD-7E69-3B41-ED9EB974AF66}"/>
          </ac:picMkLst>
        </pc:picChg>
        <pc:picChg chg="add del mod">
          <ac:chgData name="Dominik Buchegger" userId="7f2052fac20aabcc" providerId="LiveId" clId="{8168FD09-3A28-41E9-8064-32E2821D165F}" dt="2023-03-27T07:55:20.005" v="7878" actId="931"/>
          <ac:picMkLst>
            <pc:docMk/>
            <pc:sldMk cId="1621850967" sldId="1541"/>
            <ac:picMk id="26" creationId="{8D3686C3-9F00-612F-6C78-CB417ED499D2}"/>
          </ac:picMkLst>
        </pc:picChg>
        <pc:picChg chg="add del mod">
          <ac:chgData name="Dominik Buchegger" userId="7f2052fac20aabcc" providerId="LiveId" clId="{8168FD09-3A28-41E9-8064-32E2821D165F}" dt="2023-03-27T07:56:11.521" v="7895" actId="21"/>
          <ac:picMkLst>
            <pc:docMk/>
            <pc:sldMk cId="1621850967" sldId="1541"/>
            <ac:picMk id="27" creationId="{144FB708-3F28-127B-34B4-003F856069A8}"/>
          </ac:picMkLst>
        </pc:picChg>
        <pc:picChg chg="add mod modCrop">
          <ac:chgData name="Dominik Buchegger" userId="7f2052fac20aabcc" providerId="LiveId" clId="{8168FD09-3A28-41E9-8064-32E2821D165F}" dt="2023-03-27T07:56:55.043" v="7910" actId="1076"/>
          <ac:picMkLst>
            <pc:docMk/>
            <pc:sldMk cId="1621850967" sldId="1541"/>
            <ac:picMk id="28" creationId="{95BE356F-FDCB-C110-58C3-75533DBDBCF5}"/>
          </ac:picMkLst>
        </pc:picChg>
        <pc:picChg chg="add del mod">
          <ac:chgData name="Dominik Buchegger" userId="7f2052fac20aabcc" providerId="LiveId" clId="{8168FD09-3A28-41E9-8064-32E2821D165F}" dt="2023-03-27T07:56:34.076" v="7903" actId="21"/>
          <ac:picMkLst>
            <pc:docMk/>
            <pc:sldMk cId="1621850967" sldId="1541"/>
            <ac:picMk id="29" creationId="{67B8B5E6-4AB2-1CD1-020D-84AC2E150A63}"/>
          </ac:picMkLst>
        </pc:picChg>
        <pc:picChg chg="add del mod">
          <ac:chgData name="Dominik Buchegger" userId="7f2052fac20aabcc" providerId="LiveId" clId="{8168FD09-3A28-41E9-8064-32E2821D165F}" dt="2023-03-27T07:56:38.228" v="7905" actId="21"/>
          <ac:picMkLst>
            <pc:docMk/>
            <pc:sldMk cId="1621850967" sldId="1541"/>
            <ac:picMk id="30" creationId="{96F0A743-9A79-9953-FB00-EF16FEADCA3D}"/>
          </ac:picMkLst>
        </pc:picChg>
        <pc:picChg chg="add mod">
          <ac:chgData name="Dominik Buchegger" userId="7f2052fac20aabcc" providerId="LiveId" clId="{8168FD09-3A28-41E9-8064-32E2821D165F}" dt="2023-03-27T08:04:25.249" v="8208" actId="14100"/>
          <ac:picMkLst>
            <pc:docMk/>
            <pc:sldMk cId="1621850967" sldId="1541"/>
            <ac:picMk id="31" creationId="{6A7951D8-A23B-F692-4A75-E68C1CD54B3F}"/>
          </ac:picMkLst>
        </pc:picChg>
        <pc:picChg chg="add del mod">
          <ac:chgData name="Dominik Buchegger" userId="7f2052fac20aabcc" providerId="LiveId" clId="{8168FD09-3A28-41E9-8064-32E2821D165F}" dt="2023-03-27T07:59:21.916" v="8055"/>
          <ac:picMkLst>
            <pc:docMk/>
            <pc:sldMk cId="1621850967" sldId="1541"/>
            <ac:picMk id="33" creationId="{C3B861DE-41C1-497A-E604-D4CA4969E1E4}"/>
          </ac:picMkLst>
        </pc:picChg>
        <pc:picChg chg="add mod">
          <ac:chgData name="Dominik Buchegger" userId="7f2052fac20aabcc" providerId="LiveId" clId="{8168FD09-3A28-41E9-8064-32E2821D165F}" dt="2023-03-27T08:01:27.579" v="8083" actId="1076"/>
          <ac:picMkLst>
            <pc:docMk/>
            <pc:sldMk cId="1621850967" sldId="1541"/>
            <ac:picMk id="34" creationId="{F8E9E4CD-88BC-C636-69BE-818CF6D75E3E}"/>
          </ac:picMkLst>
        </pc:picChg>
        <pc:picChg chg="add del mod">
          <ac:chgData name="Dominik Buchegger" userId="7f2052fac20aabcc" providerId="LiveId" clId="{8168FD09-3A28-41E9-8064-32E2821D165F}" dt="2023-03-27T08:00:35.069" v="8068" actId="931"/>
          <ac:picMkLst>
            <pc:docMk/>
            <pc:sldMk cId="1621850967" sldId="1541"/>
            <ac:picMk id="36" creationId="{1A20113A-9BBE-E82E-B565-22AC78D51234}"/>
          </ac:picMkLst>
        </pc:picChg>
        <pc:picChg chg="add del mod">
          <ac:chgData name="Dominik Buchegger" userId="7f2052fac20aabcc" providerId="LiveId" clId="{8168FD09-3A28-41E9-8064-32E2821D165F}" dt="2023-03-27T08:00:35.069" v="8068" actId="931"/>
          <ac:picMkLst>
            <pc:docMk/>
            <pc:sldMk cId="1621850967" sldId="1541"/>
            <ac:picMk id="38" creationId="{43E61121-AC2B-9464-9919-E1279C7A4136}"/>
          </ac:picMkLst>
        </pc:picChg>
        <pc:picChg chg="add mod">
          <ac:chgData name="Dominik Buchegger" userId="7f2052fac20aabcc" providerId="LiveId" clId="{8168FD09-3A28-41E9-8064-32E2821D165F}" dt="2023-03-27T08:01:35.012" v="8085" actId="1076"/>
          <ac:picMkLst>
            <pc:docMk/>
            <pc:sldMk cId="1621850967" sldId="1541"/>
            <ac:picMk id="39" creationId="{4E2F9F32-CAF1-C55E-0F5B-CF443B0FB1B1}"/>
          </ac:picMkLst>
        </pc:picChg>
        <pc:picChg chg="add mod">
          <ac:chgData name="Dominik Buchegger" userId="7f2052fac20aabcc" providerId="LiveId" clId="{8168FD09-3A28-41E9-8064-32E2821D165F}" dt="2023-03-27T08:01:35.012" v="8085" actId="1076"/>
          <ac:picMkLst>
            <pc:docMk/>
            <pc:sldMk cId="1621850967" sldId="1541"/>
            <ac:picMk id="40" creationId="{7BB16843-BD3E-8736-6946-12414E7A7A40}"/>
          </ac:picMkLst>
        </pc:picChg>
        <pc:picChg chg="add mod">
          <ac:chgData name="Dominik Buchegger" userId="7f2052fac20aabcc" providerId="LiveId" clId="{8168FD09-3A28-41E9-8064-32E2821D165F}" dt="2023-03-27T08:02:33.755" v="8096" actId="1076"/>
          <ac:picMkLst>
            <pc:docMk/>
            <pc:sldMk cId="1621850967" sldId="1541"/>
            <ac:picMk id="46" creationId="{C43BB55A-FE67-EEF0-15C5-B8AD0D14F8AF}"/>
          </ac:picMkLst>
        </pc:picChg>
        <pc:cxnChg chg="add mod">
          <ac:chgData name="Dominik Buchegger" userId="7f2052fac20aabcc" providerId="LiveId" clId="{8168FD09-3A28-41E9-8064-32E2821D165F}" dt="2023-03-27T08:01:53.486" v="8087" actId="1582"/>
          <ac:cxnSpMkLst>
            <pc:docMk/>
            <pc:sldMk cId="1621850967" sldId="1541"/>
            <ac:cxnSpMk id="42" creationId="{79671872-7588-5F67-5EE8-25CB4A2C9263}"/>
          </ac:cxnSpMkLst>
        </pc:cxnChg>
        <pc:cxnChg chg="add mod">
          <ac:chgData name="Dominik Buchegger" userId="7f2052fac20aabcc" providerId="LiveId" clId="{8168FD09-3A28-41E9-8064-32E2821D165F}" dt="2023-03-27T08:02:31.588" v="8095" actId="14100"/>
          <ac:cxnSpMkLst>
            <pc:docMk/>
            <pc:sldMk cId="1621850967" sldId="1541"/>
            <ac:cxnSpMk id="43" creationId="{F6257313-FB35-D4D2-E449-A00518618303}"/>
          </ac:cxnSpMkLst>
        </pc:cxnChg>
      </pc:sldChg>
      <pc:sldChg chg="addSp delSp modSp new mod">
        <pc:chgData name="Dominik Buchegger" userId="7f2052fac20aabcc" providerId="LiveId" clId="{8168FD09-3A28-41E9-8064-32E2821D165F}" dt="2023-03-27T08:29:49.989" v="10052" actId="20577"/>
        <pc:sldMkLst>
          <pc:docMk/>
          <pc:sldMk cId="2438703611" sldId="1542"/>
        </pc:sldMkLst>
        <pc:spChg chg="mod">
          <ac:chgData name="Dominik Buchegger" userId="7f2052fac20aabcc" providerId="LiveId" clId="{8168FD09-3A28-41E9-8064-32E2821D165F}" dt="2023-03-27T08:03:27.199" v="8116" actId="20577"/>
          <ac:spMkLst>
            <pc:docMk/>
            <pc:sldMk cId="2438703611" sldId="1542"/>
            <ac:spMk id="2" creationId="{B368D49D-994D-D7C7-954C-B4AC053E7A2E}"/>
          </ac:spMkLst>
        </pc:spChg>
        <pc:spChg chg="mod">
          <ac:chgData name="Dominik Buchegger" userId="7f2052fac20aabcc" providerId="LiveId" clId="{8168FD09-3A28-41E9-8064-32E2821D165F}" dt="2023-03-27T08:29:49.989" v="10052" actId="20577"/>
          <ac:spMkLst>
            <pc:docMk/>
            <pc:sldMk cId="2438703611" sldId="1542"/>
            <ac:spMk id="3" creationId="{FBD4F806-0250-66BE-7A5C-EABC86E07A78}"/>
          </ac:spMkLst>
        </pc:spChg>
        <pc:spChg chg="mod">
          <ac:chgData name="Dominik Buchegger" userId="7f2052fac20aabcc" providerId="LiveId" clId="{8168FD09-3A28-41E9-8064-32E2821D165F}" dt="2023-03-27T08:22:32.508" v="9475" actId="20577"/>
          <ac:spMkLst>
            <pc:docMk/>
            <pc:sldMk cId="2438703611" sldId="1542"/>
            <ac:spMk id="6" creationId="{C07040E7-D268-FCA2-4701-E9FE3AEA72E9}"/>
          </ac:spMkLst>
        </pc:spChg>
        <pc:spChg chg="add del mod">
          <ac:chgData name="Dominik Buchegger" userId="7f2052fac20aabcc" providerId="LiveId" clId="{8168FD09-3A28-41E9-8064-32E2821D165F}" dt="2023-03-27T08:18:37.827" v="9200" actId="1076"/>
          <ac:spMkLst>
            <pc:docMk/>
            <pc:sldMk cId="2438703611" sldId="1542"/>
            <ac:spMk id="16" creationId="{F663EDAA-86BF-3953-675C-67FB5B97465D}"/>
          </ac:spMkLst>
        </pc:spChg>
        <pc:spChg chg="add mod">
          <ac:chgData name="Dominik Buchegger" userId="7f2052fac20aabcc" providerId="LiveId" clId="{8168FD09-3A28-41E9-8064-32E2821D165F}" dt="2023-03-27T08:17:19.439" v="9131" actId="20577"/>
          <ac:spMkLst>
            <pc:docMk/>
            <pc:sldMk cId="2438703611" sldId="1542"/>
            <ac:spMk id="18" creationId="{593481D6-26BF-95D7-5579-F88F9E539087}"/>
          </ac:spMkLst>
        </pc:spChg>
        <pc:spChg chg="add mod">
          <ac:chgData name="Dominik Buchegger" userId="7f2052fac20aabcc" providerId="LiveId" clId="{8168FD09-3A28-41E9-8064-32E2821D165F}" dt="2023-03-27T08:16:10.033" v="9032" actId="1076"/>
          <ac:spMkLst>
            <pc:docMk/>
            <pc:sldMk cId="2438703611" sldId="1542"/>
            <ac:spMk id="20" creationId="{91A8547E-EC3E-426A-2B11-2B737C952AF9}"/>
          </ac:spMkLst>
        </pc:spChg>
        <pc:spChg chg="add mod">
          <ac:chgData name="Dominik Buchegger" userId="7f2052fac20aabcc" providerId="LiveId" clId="{8168FD09-3A28-41E9-8064-32E2821D165F}" dt="2023-03-27T08:19:07.188" v="9206" actId="1582"/>
          <ac:spMkLst>
            <pc:docMk/>
            <pc:sldMk cId="2438703611" sldId="1542"/>
            <ac:spMk id="21" creationId="{E0523D4B-9793-424E-2212-E317CC68981A}"/>
          </ac:spMkLst>
        </pc:spChg>
        <pc:spChg chg="add mod">
          <ac:chgData name="Dominik Buchegger" userId="7f2052fac20aabcc" providerId="LiveId" clId="{8168FD09-3A28-41E9-8064-32E2821D165F}" dt="2023-03-27T08:24:12.605" v="9706" actId="20577"/>
          <ac:spMkLst>
            <pc:docMk/>
            <pc:sldMk cId="2438703611" sldId="1542"/>
            <ac:spMk id="24" creationId="{64D89F1D-2D2B-788F-EECB-97C27C590C1B}"/>
          </ac:spMkLst>
        </pc:spChg>
        <pc:spChg chg="add mod">
          <ac:chgData name="Dominik Buchegger" userId="7f2052fac20aabcc" providerId="LiveId" clId="{8168FD09-3A28-41E9-8064-32E2821D165F}" dt="2023-03-27T08:26:57.824" v="9920" actId="1038"/>
          <ac:spMkLst>
            <pc:docMk/>
            <pc:sldMk cId="2438703611" sldId="1542"/>
            <ac:spMk id="26" creationId="{6CE245D7-9510-6B51-696D-7766FF083614}"/>
          </ac:spMkLst>
        </pc:spChg>
        <pc:picChg chg="add mod modCrop">
          <ac:chgData name="Dominik Buchegger" userId="7f2052fac20aabcc" providerId="LiveId" clId="{8168FD09-3A28-41E9-8064-32E2821D165F}" dt="2023-03-27T08:16:04.981" v="9031" actId="1076"/>
          <ac:picMkLst>
            <pc:docMk/>
            <pc:sldMk cId="2438703611" sldId="1542"/>
            <ac:picMk id="8" creationId="{F79FAC95-D09E-CB4F-37E7-D67C4C4F29BA}"/>
          </ac:picMkLst>
        </pc:picChg>
        <pc:picChg chg="add del mod">
          <ac:chgData name="Dominik Buchegger" userId="7f2052fac20aabcc" providerId="LiveId" clId="{8168FD09-3A28-41E9-8064-32E2821D165F}" dt="2023-03-27T08:19:19.566" v="9207" actId="478"/>
          <ac:picMkLst>
            <pc:docMk/>
            <pc:sldMk cId="2438703611" sldId="1542"/>
            <ac:picMk id="9" creationId="{BBF352C1-CCD6-F99C-1B75-D56188F69774}"/>
          </ac:picMkLst>
        </pc:picChg>
        <pc:picChg chg="add del mod">
          <ac:chgData name="Dominik Buchegger" userId="7f2052fac20aabcc" providerId="LiveId" clId="{8168FD09-3A28-41E9-8064-32E2821D165F}" dt="2023-03-27T08:16:40.745" v="9039" actId="478"/>
          <ac:picMkLst>
            <pc:docMk/>
            <pc:sldMk cId="2438703611" sldId="1542"/>
            <ac:picMk id="10" creationId="{CE9FD6F1-200E-47B9-54FC-75544A4FC023}"/>
          </ac:picMkLst>
        </pc:picChg>
        <pc:picChg chg="add del mod modCrop">
          <ac:chgData name="Dominik Buchegger" userId="7f2052fac20aabcc" providerId="LiveId" clId="{8168FD09-3A28-41E9-8064-32E2821D165F}" dt="2023-03-27T08:12:14.835" v="8793" actId="478"/>
          <ac:picMkLst>
            <pc:docMk/>
            <pc:sldMk cId="2438703611" sldId="1542"/>
            <ac:picMk id="11" creationId="{4BFCA9A1-5044-4491-A22C-1FBB7C46E9DE}"/>
          </ac:picMkLst>
        </pc:picChg>
        <pc:picChg chg="add del mod">
          <ac:chgData name="Dominik Buchegger" userId="7f2052fac20aabcc" providerId="LiveId" clId="{8168FD09-3A28-41E9-8064-32E2821D165F}" dt="2023-03-27T08:08:04.160" v="8447" actId="478"/>
          <ac:picMkLst>
            <pc:docMk/>
            <pc:sldMk cId="2438703611" sldId="1542"/>
            <ac:picMk id="12" creationId="{61703037-0450-2694-2050-63C26E159089}"/>
          </ac:picMkLst>
        </pc:picChg>
        <pc:picChg chg="add mod modCrop">
          <ac:chgData name="Dominik Buchegger" userId="7f2052fac20aabcc" providerId="LiveId" clId="{8168FD09-3A28-41E9-8064-32E2821D165F}" dt="2023-03-27T08:18:35.355" v="9199" actId="1035"/>
          <ac:picMkLst>
            <pc:docMk/>
            <pc:sldMk cId="2438703611" sldId="1542"/>
            <ac:picMk id="13" creationId="{240E05DC-F849-FF6F-5CE9-F7A0C843257D}"/>
          </ac:picMkLst>
        </pc:picChg>
        <pc:picChg chg="add del mod">
          <ac:chgData name="Dominik Buchegger" userId="7f2052fac20aabcc" providerId="LiveId" clId="{8168FD09-3A28-41E9-8064-32E2821D165F}" dt="2023-03-27T08:25:49.635" v="9877" actId="478"/>
          <ac:picMkLst>
            <pc:docMk/>
            <pc:sldMk cId="2438703611" sldId="1542"/>
            <ac:picMk id="14" creationId="{032C924F-6C52-237E-6B51-1C93C293A277}"/>
          </ac:picMkLst>
        </pc:picChg>
        <pc:picChg chg="add del mod">
          <ac:chgData name="Dominik Buchegger" userId="7f2052fac20aabcc" providerId="LiveId" clId="{8168FD09-3A28-41E9-8064-32E2821D165F}" dt="2023-03-27T08:17:23.404" v="9132" actId="478"/>
          <ac:picMkLst>
            <pc:docMk/>
            <pc:sldMk cId="2438703611" sldId="1542"/>
            <ac:picMk id="15" creationId="{4EEFD936-B985-7EDB-E5B9-9D27B6053097}"/>
          </ac:picMkLst>
        </pc:picChg>
        <pc:picChg chg="add del mod">
          <ac:chgData name="Dominik Buchegger" userId="7f2052fac20aabcc" providerId="LiveId" clId="{8168FD09-3A28-41E9-8064-32E2821D165F}" dt="2023-03-27T08:08:23.864" v="8452" actId="478"/>
          <ac:picMkLst>
            <pc:docMk/>
            <pc:sldMk cId="2438703611" sldId="1542"/>
            <ac:picMk id="17" creationId="{F06E17ED-528E-CF4D-4980-FB4A00F7A95A}"/>
          </ac:picMkLst>
        </pc:picChg>
        <pc:cxnChg chg="add mod">
          <ac:chgData name="Dominik Buchegger" userId="7f2052fac20aabcc" providerId="LiveId" clId="{8168FD09-3A28-41E9-8064-32E2821D165F}" dt="2023-03-27T08:19:55.235" v="9213" actId="14100"/>
          <ac:cxnSpMkLst>
            <pc:docMk/>
            <pc:sldMk cId="2438703611" sldId="1542"/>
            <ac:cxnSpMk id="23" creationId="{04234351-2078-7EFD-1BD1-52EF8ABC6420}"/>
          </ac:cxnSpMkLst>
        </pc:cxnChg>
      </pc:sldChg>
      <pc:sldChg chg="addSp delSp modSp new mod">
        <pc:chgData name="Dominik Buchegger" userId="7f2052fac20aabcc" providerId="LiveId" clId="{8168FD09-3A28-41E9-8064-32E2821D165F}" dt="2023-03-27T08:42:50.981" v="11264" actId="20577"/>
        <pc:sldMkLst>
          <pc:docMk/>
          <pc:sldMk cId="419329577" sldId="1543"/>
        </pc:sldMkLst>
        <pc:spChg chg="mod">
          <ac:chgData name="Dominik Buchegger" userId="7f2052fac20aabcc" providerId="LiveId" clId="{8168FD09-3A28-41E9-8064-32E2821D165F}" dt="2023-03-27T08:27:16.696" v="9943" actId="20577"/>
          <ac:spMkLst>
            <pc:docMk/>
            <pc:sldMk cId="419329577" sldId="1543"/>
            <ac:spMk id="2" creationId="{46830B9A-3F32-B670-0DA4-C027612504D8}"/>
          </ac:spMkLst>
        </pc:spChg>
        <pc:spChg chg="mod">
          <ac:chgData name="Dominik Buchegger" userId="7f2052fac20aabcc" providerId="LiveId" clId="{8168FD09-3A28-41E9-8064-32E2821D165F}" dt="2023-03-27T08:36:10.207" v="10782" actId="20577"/>
          <ac:spMkLst>
            <pc:docMk/>
            <pc:sldMk cId="419329577" sldId="1543"/>
            <ac:spMk id="3" creationId="{B0162BEF-531F-3538-3CAF-4EB1314C638A}"/>
          </ac:spMkLst>
        </pc:spChg>
        <pc:spChg chg="mod">
          <ac:chgData name="Dominik Buchegger" userId="7f2052fac20aabcc" providerId="LiveId" clId="{8168FD09-3A28-41E9-8064-32E2821D165F}" dt="2023-03-27T08:37:25.229" v="11036" actId="20577"/>
          <ac:spMkLst>
            <pc:docMk/>
            <pc:sldMk cId="419329577" sldId="1543"/>
            <ac:spMk id="6" creationId="{E91036BA-39BB-C61D-E496-FFBBE8ECCBBD}"/>
          </ac:spMkLst>
        </pc:spChg>
        <pc:spChg chg="add del mod">
          <ac:chgData name="Dominik Buchegger" userId="7f2052fac20aabcc" providerId="LiveId" clId="{8168FD09-3A28-41E9-8064-32E2821D165F}" dt="2023-03-27T08:32:19.507" v="10252" actId="478"/>
          <ac:spMkLst>
            <pc:docMk/>
            <pc:sldMk cId="419329577" sldId="1543"/>
            <ac:spMk id="11" creationId="{2D0B6D1B-3DD1-91D0-F007-713A148BC991}"/>
          </ac:spMkLst>
        </pc:spChg>
        <pc:spChg chg="add mod">
          <ac:chgData name="Dominik Buchegger" userId="7f2052fac20aabcc" providerId="LiveId" clId="{8168FD09-3A28-41E9-8064-32E2821D165F}" dt="2023-03-27T08:42:50.981" v="11264" actId="20577"/>
          <ac:spMkLst>
            <pc:docMk/>
            <pc:sldMk cId="419329577" sldId="1543"/>
            <ac:spMk id="13" creationId="{0E2C10ED-FF38-C361-DDCB-ABD99534BABE}"/>
          </ac:spMkLst>
        </pc:spChg>
        <pc:spChg chg="add mod">
          <ac:chgData name="Dominik Buchegger" userId="7f2052fac20aabcc" providerId="LiveId" clId="{8168FD09-3A28-41E9-8064-32E2821D165F}" dt="2023-03-27T08:42:33.296" v="11262" actId="1076"/>
          <ac:spMkLst>
            <pc:docMk/>
            <pc:sldMk cId="419329577" sldId="1543"/>
            <ac:spMk id="14" creationId="{7D3AE3A1-0E5A-B615-C4AF-CC3B7AE15266}"/>
          </ac:spMkLst>
        </pc:spChg>
        <pc:picChg chg="add mod modCrop">
          <ac:chgData name="Dominik Buchegger" userId="7f2052fac20aabcc" providerId="LiveId" clId="{8168FD09-3A28-41E9-8064-32E2821D165F}" dt="2023-03-27T08:38:29.227" v="11046" actId="14100"/>
          <ac:picMkLst>
            <pc:docMk/>
            <pc:sldMk cId="419329577" sldId="1543"/>
            <ac:picMk id="8" creationId="{6DE8219E-DE81-6731-E10D-E9ACAE677B5C}"/>
          </ac:picMkLst>
        </pc:picChg>
        <pc:picChg chg="add del mod">
          <ac:chgData name="Dominik Buchegger" userId="7f2052fac20aabcc" providerId="LiveId" clId="{8168FD09-3A28-41E9-8064-32E2821D165F}" dt="2023-03-27T08:35:38.754" v="10661" actId="478"/>
          <ac:picMkLst>
            <pc:docMk/>
            <pc:sldMk cId="419329577" sldId="1543"/>
            <ac:picMk id="9" creationId="{AAAB082C-DA57-603D-FF38-F04205BD2012}"/>
          </ac:picMkLst>
        </pc:picChg>
        <pc:picChg chg="add del mod">
          <ac:chgData name="Dominik Buchegger" userId="7f2052fac20aabcc" providerId="LiveId" clId="{8168FD09-3A28-41E9-8064-32E2821D165F}" dt="2023-03-27T08:32:26.887" v="10256" actId="478"/>
          <ac:picMkLst>
            <pc:docMk/>
            <pc:sldMk cId="419329577" sldId="1543"/>
            <ac:picMk id="10" creationId="{4FB66B45-5A62-7D1E-E021-1C86C4FF003D}"/>
          </ac:picMkLst>
        </pc:picChg>
        <pc:picChg chg="add mod">
          <ac:chgData name="Dominik Buchegger" userId="7f2052fac20aabcc" providerId="LiveId" clId="{8168FD09-3A28-41E9-8064-32E2821D165F}" dt="2023-03-27T08:38:37.914" v="11050" actId="1076"/>
          <ac:picMkLst>
            <pc:docMk/>
            <pc:sldMk cId="419329577" sldId="1543"/>
            <ac:picMk id="12" creationId="{1AD150D1-36E6-2B6E-E9B2-0FF6849A8957}"/>
          </ac:picMkLst>
        </pc:picChg>
      </pc:sldChg>
      <pc:sldChg chg="addSp delSp modSp new mod modClrScheme chgLayout">
        <pc:chgData name="Dominik Buchegger" userId="7f2052fac20aabcc" providerId="LiveId" clId="{8168FD09-3A28-41E9-8064-32E2821D165F}" dt="2023-03-27T08:48:01.497" v="11890" actId="478"/>
        <pc:sldMkLst>
          <pc:docMk/>
          <pc:sldMk cId="4222879851" sldId="1544"/>
        </pc:sldMkLst>
        <pc:spChg chg="mod ord">
          <ac:chgData name="Dominik Buchegger" userId="7f2052fac20aabcc" providerId="LiveId" clId="{8168FD09-3A28-41E9-8064-32E2821D165F}" dt="2023-03-27T08:43:23.917" v="11288" actId="700"/>
          <ac:spMkLst>
            <pc:docMk/>
            <pc:sldMk cId="4222879851" sldId="1544"/>
            <ac:spMk id="2" creationId="{96A70245-B960-6BDE-ECBC-71035B76009F}"/>
          </ac:spMkLst>
        </pc:spChg>
        <pc:spChg chg="del mod ord">
          <ac:chgData name="Dominik Buchegger" userId="7f2052fac20aabcc" providerId="LiveId" clId="{8168FD09-3A28-41E9-8064-32E2821D165F}" dt="2023-03-27T08:43:23.917" v="11288" actId="700"/>
          <ac:spMkLst>
            <pc:docMk/>
            <pc:sldMk cId="4222879851" sldId="1544"/>
            <ac:spMk id="3" creationId="{BF935C3A-49AC-9DC7-35F5-DA3C84966AC6}"/>
          </ac:spMkLst>
        </pc:spChg>
        <pc:spChg chg="mod ord">
          <ac:chgData name="Dominik Buchegger" userId="7f2052fac20aabcc" providerId="LiveId" clId="{8168FD09-3A28-41E9-8064-32E2821D165F}" dt="2023-03-27T08:43:23.917" v="11288" actId="700"/>
          <ac:spMkLst>
            <pc:docMk/>
            <pc:sldMk cId="4222879851" sldId="1544"/>
            <ac:spMk id="4" creationId="{08B1239B-67D1-E6BA-C24D-2D2B6C093A7D}"/>
          </ac:spMkLst>
        </pc:spChg>
        <pc:spChg chg="del mod ord">
          <ac:chgData name="Dominik Buchegger" userId="7f2052fac20aabcc" providerId="LiveId" clId="{8168FD09-3A28-41E9-8064-32E2821D165F}" dt="2023-03-27T08:43:23.917" v="11288" actId="700"/>
          <ac:spMkLst>
            <pc:docMk/>
            <pc:sldMk cId="4222879851" sldId="1544"/>
            <ac:spMk id="5" creationId="{EACBE58E-E546-4F09-95BB-37C68C242C78}"/>
          </ac:spMkLst>
        </pc:spChg>
        <pc:spChg chg="del mod ord">
          <ac:chgData name="Dominik Buchegger" userId="7f2052fac20aabcc" providerId="LiveId" clId="{8168FD09-3A28-41E9-8064-32E2821D165F}" dt="2023-03-27T08:43:23.917" v="11288" actId="700"/>
          <ac:spMkLst>
            <pc:docMk/>
            <pc:sldMk cId="4222879851" sldId="1544"/>
            <ac:spMk id="6" creationId="{0E954251-E825-F52C-3470-681D5B1BF1F2}"/>
          </ac:spMkLst>
        </pc:spChg>
        <pc:spChg chg="del mod ord">
          <ac:chgData name="Dominik Buchegger" userId="7f2052fac20aabcc" providerId="LiveId" clId="{8168FD09-3A28-41E9-8064-32E2821D165F}" dt="2023-03-27T08:43:23.917" v="11288" actId="700"/>
          <ac:spMkLst>
            <pc:docMk/>
            <pc:sldMk cId="4222879851" sldId="1544"/>
            <ac:spMk id="7" creationId="{484D04D4-3CE2-2AE3-BFCC-A481983FC942}"/>
          </ac:spMkLst>
        </pc:spChg>
        <pc:spChg chg="add mod ord">
          <ac:chgData name="Dominik Buchegger" userId="7f2052fac20aabcc" providerId="LiveId" clId="{8168FD09-3A28-41E9-8064-32E2821D165F}" dt="2023-03-27T08:47:06.047" v="11732" actId="20577"/>
          <ac:spMkLst>
            <pc:docMk/>
            <pc:sldMk cId="4222879851" sldId="1544"/>
            <ac:spMk id="8" creationId="{0F4CE8EC-4631-4FDF-7101-C20851683543}"/>
          </ac:spMkLst>
        </pc:spChg>
        <pc:spChg chg="add del mod ord">
          <ac:chgData name="Dominik Buchegger" userId="7f2052fac20aabcc" providerId="LiveId" clId="{8168FD09-3A28-41E9-8064-32E2821D165F}" dt="2023-03-27T08:47:29.488" v="11736"/>
          <ac:spMkLst>
            <pc:docMk/>
            <pc:sldMk cId="4222879851" sldId="1544"/>
            <ac:spMk id="9" creationId="{53C951F4-ECB2-8B06-CF02-7356C4EFCF33}"/>
          </ac:spMkLst>
        </pc:spChg>
        <pc:spChg chg="add mod ord">
          <ac:chgData name="Dominik Buchegger" userId="7f2052fac20aabcc" providerId="LiveId" clId="{8168FD09-3A28-41E9-8064-32E2821D165F}" dt="2023-03-27T08:43:23.917" v="11288" actId="700"/>
          <ac:spMkLst>
            <pc:docMk/>
            <pc:sldMk cId="4222879851" sldId="1544"/>
            <ac:spMk id="10" creationId="{5C2E3B24-EC7C-EE2F-3AA1-F1B51D6DF171}"/>
          </ac:spMkLst>
        </pc:spChg>
        <pc:spChg chg="add mod ord">
          <ac:chgData name="Dominik Buchegger" userId="7f2052fac20aabcc" providerId="LiveId" clId="{8168FD09-3A28-41E9-8064-32E2821D165F}" dt="2023-03-27T08:47:59.928" v="11889" actId="20577"/>
          <ac:spMkLst>
            <pc:docMk/>
            <pc:sldMk cId="4222879851" sldId="1544"/>
            <ac:spMk id="11" creationId="{86B13DCF-0587-C7E0-8DFD-01166453FC55}"/>
          </ac:spMkLst>
        </pc:spChg>
        <pc:spChg chg="add mod ord">
          <ac:chgData name="Dominik Buchegger" userId="7f2052fac20aabcc" providerId="LiveId" clId="{8168FD09-3A28-41E9-8064-32E2821D165F}" dt="2023-03-27T08:43:32.224" v="11292" actId="20577"/>
          <ac:spMkLst>
            <pc:docMk/>
            <pc:sldMk cId="4222879851" sldId="1544"/>
            <ac:spMk id="12" creationId="{F712925C-42A8-9E70-C0E7-2CC31CCAC5BE}"/>
          </ac:spMkLst>
        </pc:spChg>
        <pc:spChg chg="add mod ord">
          <ac:chgData name="Dominik Buchegger" userId="7f2052fac20aabcc" providerId="LiveId" clId="{8168FD09-3A28-41E9-8064-32E2821D165F}" dt="2023-03-27T08:47:06.136" v="11735" actId="20577"/>
          <ac:spMkLst>
            <pc:docMk/>
            <pc:sldMk cId="4222879851" sldId="1544"/>
            <ac:spMk id="13" creationId="{0D6E9665-0217-DA5D-3C83-B66124AC7D11}"/>
          </ac:spMkLst>
        </pc:spChg>
        <pc:spChg chg="add mod ord">
          <ac:chgData name="Dominik Buchegger" userId="7f2052fac20aabcc" providerId="LiveId" clId="{8168FD09-3A28-41E9-8064-32E2821D165F}" dt="2023-03-27T08:43:23.917" v="11288" actId="700"/>
          <ac:spMkLst>
            <pc:docMk/>
            <pc:sldMk cId="4222879851" sldId="1544"/>
            <ac:spMk id="14" creationId="{071FA9EE-1348-701D-84CA-BD1B9BE45336}"/>
          </ac:spMkLst>
        </pc:spChg>
        <pc:spChg chg="add mod">
          <ac:chgData name="Dominik Buchegger" userId="7f2052fac20aabcc" providerId="LiveId" clId="{8168FD09-3A28-41E9-8064-32E2821D165F}" dt="2023-03-27T08:48:01.497" v="11890" actId="478"/>
          <ac:spMkLst>
            <pc:docMk/>
            <pc:sldMk cId="4222879851" sldId="1544"/>
            <ac:spMk id="18" creationId="{77D23C38-A9A1-B28D-4710-0CD4A37FBA68}"/>
          </ac:spMkLst>
        </pc:spChg>
        <pc:picChg chg="add del mod modCrop">
          <ac:chgData name="Dominik Buchegger" userId="7f2052fac20aabcc" providerId="LiveId" clId="{8168FD09-3A28-41E9-8064-32E2821D165F}" dt="2023-03-27T08:47:06.057" v="11733" actId="478"/>
          <ac:picMkLst>
            <pc:docMk/>
            <pc:sldMk cId="4222879851" sldId="1544"/>
            <ac:picMk id="15" creationId="{066DD45C-CEE7-4428-7BC5-D878CECDCA09}"/>
          </ac:picMkLst>
        </pc:picChg>
        <pc:picChg chg="add del mod">
          <ac:chgData name="Dominik Buchegger" userId="7f2052fac20aabcc" providerId="LiveId" clId="{8168FD09-3A28-41E9-8064-32E2821D165F}" dt="2023-03-27T08:48:01.497" v="11890" actId="478"/>
          <ac:picMkLst>
            <pc:docMk/>
            <pc:sldMk cId="4222879851" sldId="1544"/>
            <ac:picMk id="16" creationId="{41ADDC97-5E22-2688-4D2D-765B2BA10F66}"/>
          </ac:picMkLst>
        </pc:picChg>
      </pc:sldChg>
    </pc:docChg>
  </pc:docChgLst>
  <pc:docChgLst>
    <pc:chgData name="Dominik Buchegger" userId="7f2052fac20aabcc" providerId="LiveId" clId="{865E2832-7A2A-4ABD-9FC7-B37C5DEAA4BB}"/>
    <pc:docChg chg="undo redo custSel addSld delSld modSld sldOrd">
      <pc:chgData name="Dominik Buchegger" userId="7f2052fac20aabcc" providerId="LiveId" clId="{865E2832-7A2A-4ABD-9FC7-B37C5DEAA4BB}" dt="2023-05-04T21:07:29.666" v="83" actId="47"/>
      <pc:docMkLst>
        <pc:docMk/>
      </pc:docMkLst>
      <pc:sldChg chg="modSp mod">
        <pc:chgData name="Dominik Buchegger" userId="7f2052fac20aabcc" providerId="LiveId" clId="{865E2832-7A2A-4ABD-9FC7-B37C5DEAA4BB}" dt="2023-05-04T21:02:39.952" v="1" actId="20577"/>
        <pc:sldMkLst>
          <pc:docMk/>
          <pc:sldMk cId="3772496692" sldId="256"/>
        </pc:sldMkLst>
        <pc:spChg chg="mod">
          <ac:chgData name="Dominik Buchegger" userId="7f2052fac20aabcc" providerId="LiveId" clId="{865E2832-7A2A-4ABD-9FC7-B37C5DEAA4BB}" dt="2023-05-04T21:02:39.952" v="1" actId="20577"/>
          <ac:spMkLst>
            <pc:docMk/>
            <pc:sldMk cId="3772496692" sldId="256"/>
            <ac:spMk id="13" creationId="{0C11E479-9B3A-42D2-A07C-80F9E924336D}"/>
          </ac:spMkLst>
        </pc:spChg>
      </pc:sldChg>
      <pc:sldChg chg="del">
        <pc:chgData name="Dominik Buchegger" userId="7f2052fac20aabcc" providerId="LiveId" clId="{865E2832-7A2A-4ABD-9FC7-B37C5DEAA4BB}" dt="2023-05-04T21:05:30.571" v="48" actId="47"/>
        <pc:sldMkLst>
          <pc:docMk/>
          <pc:sldMk cId="2597776529" sldId="288"/>
        </pc:sldMkLst>
      </pc:sldChg>
      <pc:sldChg chg="add">
        <pc:chgData name="Dominik Buchegger" userId="7f2052fac20aabcc" providerId="LiveId" clId="{865E2832-7A2A-4ABD-9FC7-B37C5DEAA4BB}" dt="2023-05-04T21:07:16.926" v="67"/>
        <pc:sldMkLst>
          <pc:docMk/>
          <pc:sldMk cId="293893455" sldId="1427"/>
        </pc:sldMkLst>
      </pc:sldChg>
      <pc:sldChg chg="add">
        <pc:chgData name="Dominik Buchegger" userId="7f2052fac20aabcc" providerId="LiveId" clId="{865E2832-7A2A-4ABD-9FC7-B37C5DEAA4BB}" dt="2023-05-04T21:07:16.926" v="67"/>
        <pc:sldMkLst>
          <pc:docMk/>
          <pc:sldMk cId="617035871" sldId="1428"/>
        </pc:sldMkLst>
      </pc:sldChg>
      <pc:sldChg chg="add ord">
        <pc:chgData name="Dominik Buchegger" userId="7f2052fac20aabcc" providerId="LiveId" clId="{865E2832-7A2A-4ABD-9FC7-B37C5DEAA4BB}" dt="2023-05-04T21:06:43.349" v="64" actId="20578"/>
        <pc:sldMkLst>
          <pc:docMk/>
          <pc:sldMk cId="2107991988" sldId="1434"/>
        </pc:sldMkLst>
      </pc:sldChg>
      <pc:sldChg chg="add">
        <pc:chgData name="Dominik Buchegger" userId="7f2052fac20aabcc" providerId="LiveId" clId="{865E2832-7A2A-4ABD-9FC7-B37C5DEAA4BB}" dt="2023-05-04T21:07:16.926" v="67"/>
        <pc:sldMkLst>
          <pc:docMk/>
          <pc:sldMk cId="879932505" sldId="1435"/>
        </pc:sldMkLst>
      </pc:sldChg>
      <pc:sldChg chg="add">
        <pc:chgData name="Dominik Buchegger" userId="7f2052fac20aabcc" providerId="LiveId" clId="{865E2832-7A2A-4ABD-9FC7-B37C5DEAA4BB}" dt="2023-05-04T21:07:16.926" v="67"/>
        <pc:sldMkLst>
          <pc:docMk/>
          <pc:sldMk cId="2247878386" sldId="1436"/>
        </pc:sldMkLst>
      </pc:sldChg>
      <pc:sldChg chg="add">
        <pc:chgData name="Dominik Buchegger" userId="7f2052fac20aabcc" providerId="LiveId" clId="{865E2832-7A2A-4ABD-9FC7-B37C5DEAA4BB}" dt="2023-05-04T21:06:18.938" v="51"/>
        <pc:sldMkLst>
          <pc:docMk/>
          <pc:sldMk cId="3941276859" sldId="1437"/>
        </pc:sldMkLst>
      </pc:sldChg>
      <pc:sldChg chg="add">
        <pc:chgData name="Dominik Buchegger" userId="7f2052fac20aabcc" providerId="LiveId" clId="{865E2832-7A2A-4ABD-9FC7-B37C5DEAA4BB}" dt="2023-05-04T21:06:18.938" v="51"/>
        <pc:sldMkLst>
          <pc:docMk/>
          <pc:sldMk cId="3444648750" sldId="1438"/>
        </pc:sldMkLst>
      </pc:sldChg>
      <pc:sldChg chg="add">
        <pc:chgData name="Dominik Buchegger" userId="7f2052fac20aabcc" providerId="LiveId" clId="{865E2832-7A2A-4ABD-9FC7-B37C5DEAA4BB}" dt="2023-05-04T21:07:16.926" v="67"/>
        <pc:sldMkLst>
          <pc:docMk/>
          <pc:sldMk cId="3851483390" sldId="1439"/>
        </pc:sldMkLst>
      </pc:sldChg>
      <pc:sldChg chg="add">
        <pc:chgData name="Dominik Buchegger" userId="7f2052fac20aabcc" providerId="LiveId" clId="{865E2832-7A2A-4ABD-9FC7-B37C5DEAA4BB}" dt="2023-05-04T21:06:18.938" v="51"/>
        <pc:sldMkLst>
          <pc:docMk/>
          <pc:sldMk cId="1213346260" sldId="1440"/>
        </pc:sldMkLst>
      </pc:sldChg>
      <pc:sldChg chg="add">
        <pc:chgData name="Dominik Buchegger" userId="7f2052fac20aabcc" providerId="LiveId" clId="{865E2832-7A2A-4ABD-9FC7-B37C5DEAA4BB}" dt="2023-05-04T21:06:18.938" v="51"/>
        <pc:sldMkLst>
          <pc:docMk/>
          <pc:sldMk cId="2905048826" sldId="1441"/>
        </pc:sldMkLst>
      </pc:sldChg>
      <pc:sldChg chg="add">
        <pc:chgData name="Dominik Buchegger" userId="7f2052fac20aabcc" providerId="LiveId" clId="{865E2832-7A2A-4ABD-9FC7-B37C5DEAA4BB}" dt="2023-05-04T21:07:16.926" v="67"/>
        <pc:sldMkLst>
          <pc:docMk/>
          <pc:sldMk cId="3857304840" sldId="1442"/>
        </pc:sldMkLst>
      </pc:sldChg>
      <pc:sldChg chg="add">
        <pc:chgData name="Dominik Buchegger" userId="7f2052fac20aabcc" providerId="LiveId" clId="{865E2832-7A2A-4ABD-9FC7-B37C5DEAA4BB}" dt="2023-05-04T21:06:18.938" v="51"/>
        <pc:sldMkLst>
          <pc:docMk/>
          <pc:sldMk cId="447696859" sldId="1443"/>
        </pc:sldMkLst>
      </pc:sldChg>
      <pc:sldChg chg="add">
        <pc:chgData name="Dominik Buchegger" userId="7f2052fac20aabcc" providerId="LiveId" clId="{865E2832-7A2A-4ABD-9FC7-B37C5DEAA4BB}" dt="2023-05-04T21:06:18.938" v="51"/>
        <pc:sldMkLst>
          <pc:docMk/>
          <pc:sldMk cId="720892515" sldId="1444"/>
        </pc:sldMkLst>
      </pc:sldChg>
      <pc:sldChg chg="modSp mod">
        <pc:chgData name="Dominik Buchegger" userId="7f2052fac20aabcc" providerId="LiveId" clId="{865E2832-7A2A-4ABD-9FC7-B37C5DEAA4BB}" dt="2023-05-04T21:06:31.752" v="60" actId="20577"/>
        <pc:sldMkLst>
          <pc:docMk/>
          <pc:sldMk cId="860905568" sldId="1461"/>
        </pc:sldMkLst>
        <pc:spChg chg="mod">
          <ac:chgData name="Dominik Buchegger" userId="7f2052fac20aabcc" providerId="LiveId" clId="{865E2832-7A2A-4ABD-9FC7-B37C5DEAA4BB}" dt="2023-05-04T21:06:31.752" v="60" actId="20577"/>
          <ac:spMkLst>
            <pc:docMk/>
            <pc:sldMk cId="860905568" sldId="1461"/>
            <ac:spMk id="2" creationId="{C36256A2-67B2-CA01-7417-6A9C17C6B307}"/>
          </ac:spMkLst>
        </pc:spChg>
      </pc:sldChg>
      <pc:sldChg chg="modSp add del mod">
        <pc:chgData name="Dominik Buchegger" userId="7f2052fac20aabcc" providerId="LiveId" clId="{865E2832-7A2A-4ABD-9FC7-B37C5DEAA4BB}" dt="2023-05-04T21:06:44.439" v="66" actId="47"/>
        <pc:sldMkLst>
          <pc:docMk/>
          <pc:sldMk cId="455783933" sldId="1496"/>
        </pc:sldMkLst>
        <pc:spChg chg="mod">
          <ac:chgData name="Dominik Buchegger" userId="7f2052fac20aabcc" providerId="LiveId" clId="{865E2832-7A2A-4ABD-9FC7-B37C5DEAA4BB}" dt="2023-05-04T21:05:06.282" v="27" actId="20577"/>
          <ac:spMkLst>
            <pc:docMk/>
            <pc:sldMk cId="455783933" sldId="1496"/>
            <ac:spMk id="2" creationId="{C36256A2-67B2-CA01-7417-6A9C17C6B307}"/>
          </ac:spMkLst>
        </pc:spChg>
      </pc:sldChg>
      <pc:sldChg chg="modSp mod">
        <pc:chgData name="Dominik Buchegger" userId="7f2052fac20aabcc" providerId="LiveId" clId="{865E2832-7A2A-4ABD-9FC7-B37C5DEAA4BB}" dt="2023-05-04T21:05:34.231" v="50" actId="20577"/>
        <pc:sldMkLst>
          <pc:docMk/>
          <pc:sldMk cId="3982551352" sldId="1526"/>
        </pc:sldMkLst>
        <pc:spChg chg="mod">
          <ac:chgData name="Dominik Buchegger" userId="7f2052fac20aabcc" providerId="LiveId" clId="{865E2832-7A2A-4ABD-9FC7-B37C5DEAA4BB}" dt="2023-05-04T21:05:34.231" v="50" actId="20577"/>
          <ac:spMkLst>
            <pc:docMk/>
            <pc:sldMk cId="3982551352" sldId="1526"/>
            <ac:spMk id="2" creationId="{C36256A2-67B2-CA01-7417-6A9C17C6B307}"/>
          </ac:spMkLst>
        </pc:spChg>
      </pc:sldChg>
      <pc:sldChg chg="modSp mod">
        <pc:chgData name="Dominik Buchegger" userId="7f2052fac20aabcc" providerId="LiveId" clId="{865E2832-7A2A-4ABD-9FC7-B37C5DEAA4BB}" dt="2023-05-04T21:07:25.392" v="82" actId="20577"/>
        <pc:sldMkLst>
          <pc:docMk/>
          <pc:sldMk cId="3241705055" sldId="1537"/>
        </pc:sldMkLst>
        <pc:spChg chg="mod">
          <ac:chgData name="Dominik Buchegger" userId="7f2052fac20aabcc" providerId="LiveId" clId="{865E2832-7A2A-4ABD-9FC7-B37C5DEAA4BB}" dt="2023-05-04T21:07:25.392" v="82" actId="20577"/>
          <ac:spMkLst>
            <pc:docMk/>
            <pc:sldMk cId="3241705055" sldId="1537"/>
            <ac:spMk id="3" creationId="{33F7A37F-392C-4947-D49C-24175162D5FF}"/>
          </ac:spMkLst>
        </pc:spChg>
      </pc:sldChg>
      <pc:sldChg chg="del">
        <pc:chgData name="Dominik Buchegger" userId="7f2052fac20aabcc" providerId="LiveId" clId="{865E2832-7A2A-4ABD-9FC7-B37C5DEAA4BB}" dt="2023-05-04T21:05:30.571" v="48" actId="47"/>
        <pc:sldMkLst>
          <pc:docMk/>
          <pc:sldMk cId="3555160724" sldId="1551"/>
        </pc:sldMkLst>
      </pc:sldChg>
      <pc:sldChg chg="del">
        <pc:chgData name="Dominik Buchegger" userId="7f2052fac20aabcc" providerId="LiveId" clId="{865E2832-7A2A-4ABD-9FC7-B37C5DEAA4BB}" dt="2023-05-04T21:05:30.571" v="48" actId="47"/>
        <pc:sldMkLst>
          <pc:docMk/>
          <pc:sldMk cId="2741464550" sldId="1567"/>
        </pc:sldMkLst>
      </pc:sldChg>
      <pc:sldChg chg="del">
        <pc:chgData name="Dominik Buchegger" userId="7f2052fac20aabcc" providerId="LiveId" clId="{865E2832-7A2A-4ABD-9FC7-B37C5DEAA4BB}" dt="2023-05-04T21:05:30.571" v="48" actId="47"/>
        <pc:sldMkLst>
          <pc:docMk/>
          <pc:sldMk cId="3246657454" sldId="1568"/>
        </pc:sldMkLst>
      </pc:sldChg>
      <pc:sldChg chg="del">
        <pc:chgData name="Dominik Buchegger" userId="7f2052fac20aabcc" providerId="LiveId" clId="{865E2832-7A2A-4ABD-9FC7-B37C5DEAA4BB}" dt="2023-05-04T21:05:30.571" v="48" actId="47"/>
        <pc:sldMkLst>
          <pc:docMk/>
          <pc:sldMk cId="761030588" sldId="1570"/>
        </pc:sldMkLst>
      </pc:sldChg>
      <pc:sldChg chg="del">
        <pc:chgData name="Dominik Buchegger" userId="7f2052fac20aabcc" providerId="LiveId" clId="{865E2832-7A2A-4ABD-9FC7-B37C5DEAA4BB}" dt="2023-05-04T21:05:30.571" v="48" actId="47"/>
        <pc:sldMkLst>
          <pc:docMk/>
          <pc:sldMk cId="3967757145" sldId="1571"/>
        </pc:sldMkLst>
      </pc:sldChg>
      <pc:sldChg chg="del">
        <pc:chgData name="Dominik Buchegger" userId="7f2052fac20aabcc" providerId="LiveId" clId="{865E2832-7A2A-4ABD-9FC7-B37C5DEAA4BB}" dt="2023-05-04T21:05:30.571" v="48" actId="47"/>
        <pc:sldMkLst>
          <pc:docMk/>
          <pc:sldMk cId="2574699634" sldId="1572"/>
        </pc:sldMkLst>
      </pc:sldChg>
      <pc:sldChg chg="del">
        <pc:chgData name="Dominik Buchegger" userId="7f2052fac20aabcc" providerId="LiveId" clId="{865E2832-7A2A-4ABD-9FC7-B37C5DEAA4BB}" dt="2023-05-04T21:05:30.571" v="48" actId="47"/>
        <pc:sldMkLst>
          <pc:docMk/>
          <pc:sldMk cId="3371461181" sldId="1573"/>
        </pc:sldMkLst>
      </pc:sldChg>
      <pc:sldChg chg="del">
        <pc:chgData name="Dominik Buchegger" userId="7f2052fac20aabcc" providerId="LiveId" clId="{865E2832-7A2A-4ABD-9FC7-B37C5DEAA4BB}" dt="2023-05-04T21:05:30.571" v="48" actId="47"/>
        <pc:sldMkLst>
          <pc:docMk/>
          <pc:sldMk cId="3474089893" sldId="1574"/>
        </pc:sldMkLst>
      </pc:sldChg>
      <pc:sldChg chg="del">
        <pc:chgData name="Dominik Buchegger" userId="7f2052fac20aabcc" providerId="LiveId" clId="{865E2832-7A2A-4ABD-9FC7-B37C5DEAA4BB}" dt="2023-05-04T21:05:30.571" v="48" actId="47"/>
        <pc:sldMkLst>
          <pc:docMk/>
          <pc:sldMk cId="2172075571" sldId="1575"/>
        </pc:sldMkLst>
      </pc:sldChg>
      <pc:sldChg chg="del">
        <pc:chgData name="Dominik Buchegger" userId="7f2052fac20aabcc" providerId="LiveId" clId="{865E2832-7A2A-4ABD-9FC7-B37C5DEAA4BB}" dt="2023-05-04T21:05:30.571" v="48" actId="47"/>
        <pc:sldMkLst>
          <pc:docMk/>
          <pc:sldMk cId="2130080384" sldId="1576"/>
        </pc:sldMkLst>
      </pc:sldChg>
      <pc:sldChg chg="del">
        <pc:chgData name="Dominik Buchegger" userId="7f2052fac20aabcc" providerId="LiveId" clId="{865E2832-7A2A-4ABD-9FC7-B37C5DEAA4BB}" dt="2023-05-04T21:05:30.571" v="48" actId="47"/>
        <pc:sldMkLst>
          <pc:docMk/>
          <pc:sldMk cId="983026212" sldId="1577"/>
        </pc:sldMkLst>
      </pc:sldChg>
      <pc:sldChg chg="del">
        <pc:chgData name="Dominik Buchegger" userId="7f2052fac20aabcc" providerId="LiveId" clId="{865E2832-7A2A-4ABD-9FC7-B37C5DEAA4BB}" dt="2023-05-04T21:05:30.571" v="48" actId="47"/>
        <pc:sldMkLst>
          <pc:docMk/>
          <pc:sldMk cId="1065212487" sldId="1578"/>
        </pc:sldMkLst>
      </pc:sldChg>
      <pc:sldChg chg="del">
        <pc:chgData name="Dominik Buchegger" userId="7f2052fac20aabcc" providerId="LiveId" clId="{865E2832-7A2A-4ABD-9FC7-B37C5DEAA4BB}" dt="2023-05-04T21:05:30.571" v="48" actId="47"/>
        <pc:sldMkLst>
          <pc:docMk/>
          <pc:sldMk cId="4134961369" sldId="1579"/>
        </pc:sldMkLst>
      </pc:sldChg>
      <pc:sldChg chg="del">
        <pc:chgData name="Dominik Buchegger" userId="7f2052fac20aabcc" providerId="LiveId" clId="{865E2832-7A2A-4ABD-9FC7-B37C5DEAA4BB}" dt="2023-05-04T21:05:30.571" v="48" actId="47"/>
        <pc:sldMkLst>
          <pc:docMk/>
          <pc:sldMk cId="2538237896" sldId="1580"/>
        </pc:sldMkLst>
      </pc:sldChg>
      <pc:sldChg chg="del">
        <pc:chgData name="Dominik Buchegger" userId="7f2052fac20aabcc" providerId="LiveId" clId="{865E2832-7A2A-4ABD-9FC7-B37C5DEAA4BB}" dt="2023-05-04T21:05:08.664" v="28" actId="47"/>
        <pc:sldMkLst>
          <pc:docMk/>
          <pc:sldMk cId="723318487" sldId="1582"/>
        </pc:sldMkLst>
      </pc:sldChg>
      <pc:sldChg chg="del">
        <pc:chgData name="Dominik Buchegger" userId="7f2052fac20aabcc" providerId="LiveId" clId="{865E2832-7A2A-4ABD-9FC7-B37C5DEAA4BB}" dt="2023-05-04T21:05:30.571" v="48" actId="47"/>
        <pc:sldMkLst>
          <pc:docMk/>
          <pc:sldMk cId="1276492678" sldId="1583"/>
        </pc:sldMkLst>
      </pc:sldChg>
      <pc:sldChg chg="del">
        <pc:chgData name="Dominik Buchegger" userId="7f2052fac20aabcc" providerId="LiveId" clId="{865E2832-7A2A-4ABD-9FC7-B37C5DEAA4BB}" dt="2023-05-04T21:05:00.845" v="25" actId="47"/>
        <pc:sldMkLst>
          <pc:docMk/>
          <pc:sldMk cId="4127138690" sldId="1586"/>
        </pc:sldMkLst>
      </pc:sldChg>
      <pc:sldChg chg="del">
        <pc:chgData name="Dominik Buchegger" userId="7f2052fac20aabcc" providerId="LiveId" clId="{865E2832-7A2A-4ABD-9FC7-B37C5DEAA4BB}" dt="2023-05-04T21:05:00.845" v="25" actId="47"/>
        <pc:sldMkLst>
          <pc:docMk/>
          <pc:sldMk cId="1961998598" sldId="1602"/>
        </pc:sldMkLst>
      </pc:sldChg>
      <pc:sldChg chg="modSp mod">
        <pc:chgData name="Dominik Buchegger" userId="7f2052fac20aabcc" providerId="LiveId" clId="{865E2832-7A2A-4ABD-9FC7-B37C5DEAA4BB}" dt="2023-05-04T21:04:52.140" v="22" actId="20577"/>
        <pc:sldMkLst>
          <pc:docMk/>
          <pc:sldMk cId="2368893082" sldId="1604"/>
        </pc:sldMkLst>
        <pc:spChg chg="mod">
          <ac:chgData name="Dominik Buchegger" userId="7f2052fac20aabcc" providerId="LiveId" clId="{865E2832-7A2A-4ABD-9FC7-B37C5DEAA4BB}" dt="2023-05-04T21:04:52.140" v="22" actId="20577"/>
          <ac:spMkLst>
            <pc:docMk/>
            <pc:sldMk cId="2368893082" sldId="1604"/>
            <ac:spMk id="2" creationId="{38C104DD-55A5-D5D7-68B1-A81097757DA7}"/>
          </ac:spMkLst>
        </pc:spChg>
      </pc:sldChg>
      <pc:sldChg chg="modSp del mod">
        <pc:chgData name="Dominik Buchegger" userId="7f2052fac20aabcc" providerId="LiveId" clId="{865E2832-7A2A-4ABD-9FC7-B37C5DEAA4BB}" dt="2023-05-04T21:07:29.666" v="83" actId="47"/>
        <pc:sldMkLst>
          <pc:docMk/>
          <pc:sldMk cId="203155720" sldId="1605"/>
        </pc:sldMkLst>
        <pc:spChg chg="mod">
          <ac:chgData name="Dominik Buchegger" userId="7f2052fac20aabcc" providerId="LiveId" clId="{865E2832-7A2A-4ABD-9FC7-B37C5DEAA4BB}" dt="2023-05-04T21:05:23.481" v="47" actId="20577"/>
          <ac:spMkLst>
            <pc:docMk/>
            <pc:sldMk cId="203155720" sldId="1605"/>
            <ac:spMk id="2" creationId="{A92E3E48-FF8A-5E4C-67CC-8B0608A09C2C}"/>
          </ac:spMkLst>
        </pc:spChg>
      </pc:sldChg>
      <pc:sldChg chg="del">
        <pc:chgData name="Dominik Buchegger" userId="7f2052fac20aabcc" providerId="LiveId" clId="{865E2832-7A2A-4ABD-9FC7-B37C5DEAA4BB}" dt="2023-05-04T21:05:11.461" v="29" actId="47"/>
        <pc:sldMkLst>
          <pc:docMk/>
          <pc:sldMk cId="3750821344" sldId="1606"/>
        </pc:sldMkLst>
      </pc:sldChg>
      <pc:sldMasterChg chg="delSldLayout">
        <pc:chgData name="Dominik Buchegger" userId="7f2052fac20aabcc" providerId="LiveId" clId="{865E2832-7A2A-4ABD-9FC7-B37C5DEAA4BB}" dt="2023-05-04T21:05:30.571" v="48" actId="47"/>
        <pc:sldMasterMkLst>
          <pc:docMk/>
          <pc:sldMasterMk cId="4246037650" sldId="2147483660"/>
        </pc:sldMasterMkLst>
        <pc:sldLayoutChg chg="del">
          <pc:chgData name="Dominik Buchegger" userId="7f2052fac20aabcc" providerId="LiveId" clId="{865E2832-7A2A-4ABD-9FC7-B37C5DEAA4BB}" dt="2023-05-04T21:05:30.571" v="48" actId="47"/>
          <pc:sldLayoutMkLst>
            <pc:docMk/>
            <pc:sldMasterMk cId="4246037650" sldId="2147483660"/>
            <pc:sldLayoutMk cId="3502696173" sldId="2147483707"/>
          </pc:sldLayoutMkLst>
        </pc:sldLayoutChg>
      </pc:sldMasterChg>
    </pc:docChg>
  </pc:docChgLst>
  <pc:docChgLst>
    <pc:chgData name="Aier, Stephan" userId="c09b466c-35db-4ee9-9b0d-db06883c916e" providerId="ADAL" clId="{262C67CF-2D67-4A52-A9B5-D8E79E5FDFE3}"/>
    <pc:docChg chg="modSld">
      <pc:chgData name="Aier, Stephan" userId="c09b466c-35db-4ee9-9b0d-db06883c916e" providerId="ADAL" clId="{262C67CF-2D67-4A52-A9B5-D8E79E5FDFE3}" dt="2023-03-28T07:53:55.446" v="0" actId="166"/>
      <pc:docMkLst>
        <pc:docMk/>
      </pc:docMkLst>
      <pc:sldChg chg="modSp mod">
        <pc:chgData name="Aier, Stephan" userId="c09b466c-35db-4ee9-9b0d-db06883c916e" providerId="ADAL" clId="{262C67CF-2D67-4A52-A9B5-D8E79E5FDFE3}" dt="2023-03-28T07:53:55.446" v="0" actId="166"/>
        <pc:sldMkLst>
          <pc:docMk/>
          <pc:sldMk cId="4222879851" sldId="1544"/>
        </pc:sldMkLst>
        <pc:spChg chg="ord">
          <ac:chgData name="Aier, Stephan" userId="c09b466c-35db-4ee9-9b0d-db06883c916e" providerId="ADAL" clId="{262C67CF-2D67-4A52-A9B5-D8E79E5FDFE3}" dt="2023-03-28T07:53:55.446" v="0" actId="166"/>
          <ac:spMkLst>
            <pc:docMk/>
            <pc:sldMk cId="4222879851" sldId="1544"/>
            <ac:spMk id="13" creationId="{0D6E9665-0217-DA5D-3C83-B66124AC7D11}"/>
          </ac:spMkLst>
        </pc:spChg>
      </pc:sldChg>
    </pc:docChg>
  </pc:docChgLst>
  <pc:docChgLst>
    <pc:chgData name="Dominik Buchegger" userId="7f2052fac20aabcc" providerId="LiveId" clId="{C4D69296-7BBA-4764-A51C-AEA0A42D92BA}"/>
    <pc:docChg chg="undo redo custSel addSld delSld modSld sldOrd">
      <pc:chgData name="Dominik Buchegger" userId="7f2052fac20aabcc" providerId="LiveId" clId="{C4D69296-7BBA-4764-A51C-AEA0A42D92BA}" dt="2023-04-28T09:12:31.932" v="937" actId="20577"/>
      <pc:docMkLst>
        <pc:docMk/>
      </pc:docMkLst>
      <pc:sldChg chg="modSp mod">
        <pc:chgData name="Dominik Buchegger" userId="7f2052fac20aabcc" providerId="LiveId" clId="{C4D69296-7BBA-4764-A51C-AEA0A42D92BA}" dt="2023-04-28T08:50:35.124" v="1" actId="20577"/>
        <pc:sldMkLst>
          <pc:docMk/>
          <pc:sldMk cId="3772496692" sldId="256"/>
        </pc:sldMkLst>
        <pc:spChg chg="mod">
          <ac:chgData name="Dominik Buchegger" userId="7f2052fac20aabcc" providerId="LiveId" clId="{C4D69296-7BBA-4764-A51C-AEA0A42D92BA}" dt="2023-04-28T08:50:35.124" v="1" actId="20577"/>
          <ac:spMkLst>
            <pc:docMk/>
            <pc:sldMk cId="3772496692" sldId="256"/>
            <ac:spMk id="13" creationId="{0C11E479-9B3A-42D2-A07C-80F9E924336D}"/>
          </ac:spMkLst>
        </pc:spChg>
      </pc:sldChg>
      <pc:sldChg chg="delSp modSp add mod">
        <pc:chgData name="Dominik Buchegger" userId="7f2052fac20aabcc" providerId="LiveId" clId="{C4D69296-7BBA-4764-A51C-AEA0A42D92BA}" dt="2023-04-28T09:04:15.543" v="578" actId="20577"/>
        <pc:sldMkLst>
          <pc:docMk/>
          <pc:sldMk cId="2597776529" sldId="288"/>
        </pc:sldMkLst>
        <pc:spChg chg="mod">
          <ac:chgData name="Dominik Buchegger" userId="7f2052fac20aabcc" providerId="LiveId" clId="{C4D69296-7BBA-4764-A51C-AEA0A42D92BA}" dt="2023-04-28T09:04:15.543" v="578" actId="20577"/>
          <ac:spMkLst>
            <pc:docMk/>
            <pc:sldMk cId="2597776529" sldId="288"/>
            <ac:spMk id="2" creationId="{0AC03F16-45A2-47BC-B83F-E12938377D60}"/>
          </ac:spMkLst>
        </pc:spChg>
        <pc:spChg chg="del">
          <ac:chgData name="Dominik Buchegger" userId="7f2052fac20aabcc" providerId="LiveId" clId="{C4D69296-7BBA-4764-A51C-AEA0A42D92BA}" dt="2023-04-28T08:59:46.160" v="405" actId="478"/>
          <ac:spMkLst>
            <pc:docMk/>
            <pc:sldMk cId="2597776529" sldId="288"/>
            <ac:spMk id="6" creationId="{0E33CF77-9676-7C0A-30FA-2516E9BD5F07}"/>
          </ac:spMkLst>
        </pc:spChg>
      </pc:sldChg>
      <pc:sldChg chg="del">
        <pc:chgData name="Dominik Buchegger" userId="7f2052fac20aabcc" providerId="LiveId" clId="{C4D69296-7BBA-4764-A51C-AEA0A42D92BA}" dt="2023-04-28T08:58:59.186" v="395" actId="47"/>
        <pc:sldMkLst>
          <pc:docMk/>
          <pc:sldMk cId="3527397213" sldId="325"/>
        </pc:sldMkLst>
      </pc:sldChg>
      <pc:sldChg chg="del">
        <pc:chgData name="Dominik Buchegger" userId="7f2052fac20aabcc" providerId="LiveId" clId="{C4D69296-7BBA-4764-A51C-AEA0A42D92BA}" dt="2023-04-28T08:58:59.186" v="395" actId="47"/>
        <pc:sldMkLst>
          <pc:docMk/>
          <pc:sldMk cId="1051580573" sldId="326"/>
        </pc:sldMkLst>
      </pc:sldChg>
      <pc:sldChg chg="del">
        <pc:chgData name="Dominik Buchegger" userId="7f2052fac20aabcc" providerId="LiveId" clId="{C4D69296-7BBA-4764-A51C-AEA0A42D92BA}" dt="2023-04-28T08:58:59.186" v="395" actId="47"/>
        <pc:sldMkLst>
          <pc:docMk/>
          <pc:sldMk cId="1206280606" sldId="327"/>
        </pc:sldMkLst>
      </pc:sldChg>
      <pc:sldChg chg="del">
        <pc:chgData name="Dominik Buchegger" userId="7f2052fac20aabcc" providerId="LiveId" clId="{C4D69296-7BBA-4764-A51C-AEA0A42D92BA}" dt="2023-04-28T08:58:59.186" v="395" actId="47"/>
        <pc:sldMkLst>
          <pc:docMk/>
          <pc:sldMk cId="465461136" sldId="329"/>
        </pc:sldMkLst>
      </pc:sldChg>
      <pc:sldChg chg="del">
        <pc:chgData name="Dominik Buchegger" userId="7f2052fac20aabcc" providerId="LiveId" clId="{C4D69296-7BBA-4764-A51C-AEA0A42D92BA}" dt="2023-04-28T08:58:59.186" v="395" actId="47"/>
        <pc:sldMkLst>
          <pc:docMk/>
          <pc:sldMk cId="4261794187" sldId="330"/>
        </pc:sldMkLst>
      </pc:sldChg>
      <pc:sldChg chg="del">
        <pc:chgData name="Dominik Buchegger" userId="7f2052fac20aabcc" providerId="LiveId" clId="{C4D69296-7BBA-4764-A51C-AEA0A42D92BA}" dt="2023-04-28T08:58:59.186" v="395" actId="47"/>
        <pc:sldMkLst>
          <pc:docMk/>
          <pc:sldMk cId="1455359729" sldId="331"/>
        </pc:sldMkLst>
      </pc:sldChg>
      <pc:sldChg chg="del">
        <pc:chgData name="Dominik Buchegger" userId="7f2052fac20aabcc" providerId="LiveId" clId="{C4D69296-7BBA-4764-A51C-AEA0A42D92BA}" dt="2023-04-28T08:58:59.186" v="395" actId="47"/>
        <pc:sldMkLst>
          <pc:docMk/>
          <pc:sldMk cId="2318293236" sldId="332"/>
        </pc:sldMkLst>
      </pc:sldChg>
      <pc:sldChg chg="del">
        <pc:chgData name="Dominik Buchegger" userId="7f2052fac20aabcc" providerId="LiveId" clId="{C4D69296-7BBA-4764-A51C-AEA0A42D92BA}" dt="2023-04-28T08:59:23.043" v="398" actId="47"/>
        <pc:sldMkLst>
          <pc:docMk/>
          <pc:sldMk cId="448161714" sldId="340"/>
        </pc:sldMkLst>
      </pc:sldChg>
      <pc:sldChg chg="del">
        <pc:chgData name="Dominik Buchegger" userId="7f2052fac20aabcc" providerId="LiveId" clId="{C4D69296-7BBA-4764-A51C-AEA0A42D92BA}" dt="2023-04-28T08:59:23.043" v="398" actId="47"/>
        <pc:sldMkLst>
          <pc:docMk/>
          <pc:sldMk cId="747585086" sldId="342"/>
        </pc:sldMkLst>
      </pc:sldChg>
      <pc:sldChg chg="del">
        <pc:chgData name="Dominik Buchegger" userId="7f2052fac20aabcc" providerId="LiveId" clId="{C4D69296-7BBA-4764-A51C-AEA0A42D92BA}" dt="2023-04-28T08:56:58.340" v="384" actId="47"/>
        <pc:sldMkLst>
          <pc:docMk/>
          <pc:sldMk cId="2946332310" sldId="1460"/>
        </pc:sldMkLst>
      </pc:sldChg>
      <pc:sldChg chg="modSp mod">
        <pc:chgData name="Dominik Buchegger" userId="7f2052fac20aabcc" providerId="LiveId" clId="{C4D69296-7BBA-4764-A51C-AEA0A42D92BA}" dt="2023-04-28T08:57:02.076" v="386" actId="20577"/>
        <pc:sldMkLst>
          <pc:docMk/>
          <pc:sldMk cId="860905568" sldId="1461"/>
        </pc:sldMkLst>
        <pc:spChg chg="mod">
          <ac:chgData name="Dominik Buchegger" userId="7f2052fac20aabcc" providerId="LiveId" clId="{C4D69296-7BBA-4764-A51C-AEA0A42D92BA}" dt="2023-04-28T08:57:02.076" v="386" actId="20577"/>
          <ac:spMkLst>
            <pc:docMk/>
            <pc:sldMk cId="860905568" sldId="1461"/>
            <ac:spMk id="2" creationId="{C36256A2-67B2-CA01-7417-6A9C17C6B307}"/>
          </ac:spMkLst>
        </pc:spChg>
      </pc:sldChg>
      <pc:sldChg chg="modSp del mod">
        <pc:chgData name="Dominik Buchegger" userId="7f2052fac20aabcc" providerId="LiveId" clId="{C4D69296-7BBA-4764-A51C-AEA0A42D92BA}" dt="2023-04-28T08:59:23.043" v="398" actId="47"/>
        <pc:sldMkLst>
          <pc:docMk/>
          <pc:sldMk cId="1700766504" sldId="1464"/>
        </pc:sldMkLst>
        <pc:spChg chg="mod">
          <ac:chgData name="Dominik Buchegger" userId="7f2052fac20aabcc" providerId="LiveId" clId="{C4D69296-7BBA-4764-A51C-AEA0A42D92BA}" dt="2023-04-28T08:59:02.553" v="397" actId="20577"/>
          <ac:spMkLst>
            <pc:docMk/>
            <pc:sldMk cId="1700766504" sldId="1464"/>
            <ac:spMk id="2" creationId="{C36256A2-67B2-CA01-7417-6A9C17C6B307}"/>
          </ac:spMkLst>
        </pc:spChg>
      </pc:sldChg>
      <pc:sldChg chg="modSp mod">
        <pc:chgData name="Dominik Buchegger" userId="7f2052fac20aabcc" providerId="LiveId" clId="{C4D69296-7BBA-4764-A51C-AEA0A42D92BA}" dt="2023-04-28T08:57:38.175" v="392" actId="20577"/>
        <pc:sldMkLst>
          <pc:docMk/>
          <pc:sldMk cId="455783933" sldId="1496"/>
        </pc:sldMkLst>
        <pc:spChg chg="mod">
          <ac:chgData name="Dominik Buchegger" userId="7f2052fac20aabcc" providerId="LiveId" clId="{C4D69296-7BBA-4764-A51C-AEA0A42D92BA}" dt="2023-04-28T08:57:38.175" v="392" actId="20577"/>
          <ac:spMkLst>
            <pc:docMk/>
            <pc:sldMk cId="455783933" sldId="1496"/>
            <ac:spMk id="2" creationId="{C36256A2-67B2-CA01-7417-6A9C17C6B307}"/>
          </ac:spMkLst>
        </pc:spChg>
      </pc:sldChg>
      <pc:sldChg chg="modSp mod">
        <pc:chgData name="Dominik Buchegger" userId="7f2052fac20aabcc" providerId="LiveId" clId="{C4D69296-7BBA-4764-A51C-AEA0A42D92BA}" dt="2023-04-28T08:59:31.348" v="401" actId="20577"/>
        <pc:sldMkLst>
          <pc:docMk/>
          <pc:sldMk cId="3982551352" sldId="1526"/>
        </pc:sldMkLst>
        <pc:spChg chg="mod">
          <ac:chgData name="Dominik Buchegger" userId="7f2052fac20aabcc" providerId="LiveId" clId="{C4D69296-7BBA-4764-A51C-AEA0A42D92BA}" dt="2023-04-28T08:59:31.348" v="401" actId="20577"/>
          <ac:spMkLst>
            <pc:docMk/>
            <pc:sldMk cId="3982551352" sldId="1526"/>
            <ac:spMk id="2" creationId="{C36256A2-67B2-CA01-7417-6A9C17C6B307}"/>
          </ac:spMkLst>
        </pc:spChg>
      </pc:sldChg>
      <pc:sldChg chg="addSp delSp modSp add mod">
        <pc:chgData name="Dominik Buchegger" userId="7f2052fac20aabcc" providerId="LiveId" clId="{C4D69296-7BBA-4764-A51C-AEA0A42D92BA}" dt="2023-04-28T09:01:17.313" v="437" actId="20577"/>
        <pc:sldMkLst>
          <pc:docMk/>
          <pc:sldMk cId="3555160724" sldId="1551"/>
        </pc:sldMkLst>
        <pc:spChg chg="del">
          <ac:chgData name="Dominik Buchegger" userId="7f2052fac20aabcc" providerId="LiveId" clId="{C4D69296-7BBA-4764-A51C-AEA0A42D92BA}" dt="2023-04-28T08:59:37.448" v="402" actId="478"/>
          <ac:spMkLst>
            <pc:docMk/>
            <pc:sldMk cId="3555160724" sldId="1551"/>
            <ac:spMk id="3" creationId="{641BA0E1-8D6C-A9CA-73FE-3B2AE7D021E4}"/>
          </ac:spMkLst>
        </pc:spChg>
        <pc:spChg chg="add mod">
          <ac:chgData name="Dominik Buchegger" userId="7f2052fac20aabcc" providerId="LiveId" clId="{C4D69296-7BBA-4764-A51C-AEA0A42D92BA}" dt="2023-04-28T08:59:37.448" v="402" actId="478"/>
          <ac:spMkLst>
            <pc:docMk/>
            <pc:sldMk cId="3555160724" sldId="1551"/>
            <ac:spMk id="6" creationId="{797D2555-7F19-8149-DD7D-45E527CFBDE2}"/>
          </ac:spMkLst>
        </pc:spChg>
        <pc:spChg chg="mod">
          <ac:chgData name="Dominik Buchegger" userId="7f2052fac20aabcc" providerId="LiveId" clId="{C4D69296-7BBA-4764-A51C-AEA0A42D92BA}" dt="2023-04-28T09:01:17.313" v="437" actId="20577"/>
          <ac:spMkLst>
            <pc:docMk/>
            <pc:sldMk cId="3555160724" sldId="1551"/>
            <ac:spMk id="7" creationId="{F666E8F7-8B25-B437-131E-F8882B62E16E}"/>
          </ac:spMkLst>
        </pc:spChg>
      </pc:sldChg>
      <pc:sldChg chg="del">
        <pc:chgData name="Dominik Buchegger" userId="7f2052fac20aabcc" providerId="LiveId" clId="{C4D69296-7BBA-4764-A51C-AEA0A42D92BA}" dt="2023-04-28T08:57:14.412" v="387" actId="47"/>
        <pc:sldMkLst>
          <pc:docMk/>
          <pc:sldMk cId="1539011393" sldId="1557"/>
        </pc:sldMkLst>
      </pc:sldChg>
      <pc:sldChg chg="del">
        <pc:chgData name="Dominik Buchegger" userId="7f2052fac20aabcc" providerId="LiveId" clId="{C4D69296-7BBA-4764-A51C-AEA0A42D92BA}" dt="2023-04-28T08:57:14.412" v="387" actId="47"/>
        <pc:sldMkLst>
          <pc:docMk/>
          <pc:sldMk cId="2533122920" sldId="1558"/>
        </pc:sldMkLst>
      </pc:sldChg>
      <pc:sldChg chg="addSp delSp modSp add mod">
        <pc:chgData name="Dominik Buchegger" userId="7f2052fac20aabcc" providerId="LiveId" clId="{C4D69296-7BBA-4764-A51C-AEA0A42D92BA}" dt="2023-04-28T09:01:35.838" v="464" actId="20577"/>
        <pc:sldMkLst>
          <pc:docMk/>
          <pc:sldMk cId="2741464550" sldId="1567"/>
        </pc:sldMkLst>
        <pc:spChg chg="mod">
          <ac:chgData name="Dominik Buchegger" userId="7f2052fac20aabcc" providerId="LiveId" clId="{C4D69296-7BBA-4764-A51C-AEA0A42D92BA}" dt="2023-04-28T09:01:35.838" v="464" actId="20577"/>
          <ac:spMkLst>
            <pc:docMk/>
            <pc:sldMk cId="2741464550" sldId="1567"/>
            <ac:spMk id="2" creationId="{B96CACAD-078B-720D-72AB-F2A4DBBAC063}"/>
          </ac:spMkLst>
        </pc:spChg>
        <pc:spChg chg="del">
          <ac:chgData name="Dominik Buchegger" userId="7f2052fac20aabcc" providerId="LiveId" clId="{C4D69296-7BBA-4764-A51C-AEA0A42D92BA}" dt="2023-04-28T08:59:41.063" v="403" actId="478"/>
          <ac:spMkLst>
            <pc:docMk/>
            <pc:sldMk cId="2741464550" sldId="1567"/>
            <ac:spMk id="6" creationId="{7E3EFB16-B286-C4DD-5AD2-FBE9A5588FEB}"/>
          </ac:spMkLst>
        </pc:spChg>
        <pc:spChg chg="add mod">
          <ac:chgData name="Dominik Buchegger" userId="7f2052fac20aabcc" providerId="LiveId" clId="{C4D69296-7BBA-4764-A51C-AEA0A42D92BA}" dt="2023-04-28T08:59:41.063" v="403" actId="478"/>
          <ac:spMkLst>
            <pc:docMk/>
            <pc:sldMk cId="2741464550" sldId="1567"/>
            <ac:spMk id="8" creationId="{DBD358A5-E4E9-ED88-2523-892480E7CF72}"/>
          </ac:spMkLst>
        </pc:spChg>
      </pc:sldChg>
      <pc:sldChg chg="addSp delSp modSp add mod">
        <pc:chgData name="Dominik Buchegger" userId="7f2052fac20aabcc" providerId="LiveId" clId="{C4D69296-7BBA-4764-A51C-AEA0A42D92BA}" dt="2023-04-28T09:02:57.354" v="535" actId="20577"/>
        <pc:sldMkLst>
          <pc:docMk/>
          <pc:sldMk cId="3246657454" sldId="1568"/>
        </pc:sldMkLst>
        <pc:spChg chg="mod">
          <ac:chgData name="Dominik Buchegger" userId="7f2052fac20aabcc" providerId="LiveId" clId="{C4D69296-7BBA-4764-A51C-AEA0A42D92BA}" dt="2023-04-28T09:02:57.354" v="535" actId="20577"/>
          <ac:spMkLst>
            <pc:docMk/>
            <pc:sldMk cId="3246657454" sldId="1568"/>
            <ac:spMk id="2" creationId="{B96CACAD-078B-720D-72AB-F2A4DBBAC063}"/>
          </ac:spMkLst>
        </pc:spChg>
        <pc:spChg chg="del">
          <ac:chgData name="Dominik Buchegger" userId="7f2052fac20aabcc" providerId="LiveId" clId="{C4D69296-7BBA-4764-A51C-AEA0A42D92BA}" dt="2023-04-28T08:59:43.568" v="404" actId="478"/>
          <ac:spMkLst>
            <pc:docMk/>
            <pc:sldMk cId="3246657454" sldId="1568"/>
            <ac:spMk id="6" creationId="{5F9839E5-9B1C-E336-576D-5E11680FD6CE}"/>
          </ac:spMkLst>
        </pc:spChg>
        <pc:spChg chg="add mod">
          <ac:chgData name="Dominik Buchegger" userId="7f2052fac20aabcc" providerId="LiveId" clId="{C4D69296-7BBA-4764-A51C-AEA0A42D92BA}" dt="2023-04-28T08:59:43.568" v="404" actId="478"/>
          <ac:spMkLst>
            <pc:docMk/>
            <pc:sldMk cId="3246657454" sldId="1568"/>
            <ac:spMk id="8" creationId="{50DF2FD8-6AEC-C405-680B-EC6C7B7FD82F}"/>
          </ac:spMkLst>
        </pc:spChg>
      </pc:sldChg>
      <pc:sldChg chg="addSp delSp modSp add mod">
        <pc:chgData name="Dominik Buchegger" userId="7f2052fac20aabcc" providerId="LiveId" clId="{C4D69296-7BBA-4764-A51C-AEA0A42D92BA}" dt="2023-04-28T09:04:21.534" v="586" actId="6549"/>
        <pc:sldMkLst>
          <pc:docMk/>
          <pc:sldMk cId="761030588" sldId="1570"/>
        </pc:sldMkLst>
        <pc:spChg chg="mod">
          <ac:chgData name="Dominik Buchegger" userId="7f2052fac20aabcc" providerId="LiveId" clId="{C4D69296-7BBA-4764-A51C-AEA0A42D92BA}" dt="2023-04-28T09:04:21.534" v="586" actId="6549"/>
          <ac:spMkLst>
            <pc:docMk/>
            <pc:sldMk cId="761030588" sldId="1570"/>
            <ac:spMk id="2" creationId="{B96CACAD-078B-720D-72AB-F2A4DBBAC063}"/>
          </ac:spMkLst>
        </pc:spChg>
        <pc:spChg chg="del">
          <ac:chgData name="Dominik Buchegger" userId="7f2052fac20aabcc" providerId="LiveId" clId="{C4D69296-7BBA-4764-A51C-AEA0A42D92BA}" dt="2023-04-28T08:59:49.998" v="406" actId="478"/>
          <ac:spMkLst>
            <pc:docMk/>
            <pc:sldMk cId="761030588" sldId="1570"/>
            <ac:spMk id="3" creationId="{34A673C7-A7F0-763B-3668-0A63C069C9FD}"/>
          </ac:spMkLst>
        </pc:spChg>
        <pc:spChg chg="add mod">
          <ac:chgData name="Dominik Buchegger" userId="7f2052fac20aabcc" providerId="LiveId" clId="{C4D69296-7BBA-4764-A51C-AEA0A42D92BA}" dt="2023-04-28T08:59:49.998" v="406" actId="478"/>
          <ac:spMkLst>
            <pc:docMk/>
            <pc:sldMk cId="761030588" sldId="1570"/>
            <ac:spMk id="7" creationId="{EA4DE354-EDEC-B39F-4620-28012BA2E176}"/>
          </ac:spMkLst>
        </pc:spChg>
      </pc:sldChg>
      <pc:sldChg chg="del">
        <pc:chgData name="Dominik Buchegger" userId="7f2052fac20aabcc" providerId="LiveId" clId="{C4D69296-7BBA-4764-A51C-AEA0A42D92BA}" dt="2023-04-28T08:59:23.043" v="398" actId="47"/>
        <pc:sldMkLst>
          <pc:docMk/>
          <pc:sldMk cId="2655808385" sldId="1571"/>
        </pc:sldMkLst>
      </pc:sldChg>
      <pc:sldChg chg="addSp delSp modSp add mod">
        <pc:chgData name="Dominik Buchegger" userId="7f2052fac20aabcc" providerId="LiveId" clId="{C4D69296-7BBA-4764-A51C-AEA0A42D92BA}" dt="2023-04-28T09:04:30.728" v="596" actId="20577"/>
        <pc:sldMkLst>
          <pc:docMk/>
          <pc:sldMk cId="3967757145" sldId="1571"/>
        </pc:sldMkLst>
        <pc:spChg chg="mod">
          <ac:chgData name="Dominik Buchegger" userId="7f2052fac20aabcc" providerId="LiveId" clId="{C4D69296-7BBA-4764-A51C-AEA0A42D92BA}" dt="2023-04-28T09:04:30.728" v="596" actId="20577"/>
          <ac:spMkLst>
            <pc:docMk/>
            <pc:sldMk cId="3967757145" sldId="1571"/>
            <ac:spMk id="2" creationId="{B96CACAD-078B-720D-72AB-F2A4DBBAC063}"/>
          </ac:spMkLst>
        </pc:spChg>
        <pc:spChg chg="del">
          <ac:chgData name="Dominik Buchegger" userId="7f2052fac20aabcc" providerId="LiveId" clId="{C4D69296-7BBA-4764-A51C-AEA0A42D92BA}" dt="2023-04-28T08:59:53.516" v="407" actId="478"/>
          <ac:spMkLst>
            <pc:docMk/>
            <pc:sldMk cId="3967757145" sldId="1571"/>
            <ac:spMk id="3" creationId="{2A4ECA5E-8C2E-D938-ECAF-0DC812DA0508}"/>
          </ac:spMkLst>
        </pc:spChg>
        <pc:spChg chg="add mod">
          <ac:chgData name="Dominik Buchegger" userId="7f2052fac20aabcc" providerId="LiveId" clId="{C4D69296-7BBA-4764-A51C-AEA0A42D92BA}" dt="2023-04-28T08:59:53.516" v="407" actId="478"/>
          <ac:spMkLst>
            <pc:docMk/>
            <pc:sldMk cId="3967757145" sldId="1571"/>
            <ac:spMk id="6" creationId="{D958B031-6C63-4FCD-C47E-6F0DBC0F7C1F}"/>
          </ac:spMkLst>
        </pc:spChg>
      </pc:sldChg>
      <pc:sldChg chg="addSp delSp modSp add mod">
        <pc:chgData name="Dominik Buchegger" userId="7f2052fac20aabcc" providerId="LiveId" clId="{C4D69296-7BBA-4764-A51C-AEA0A42D92BA}" dt="2023-04-28T09:05:02.104" v="625" actId="20577"/>
        <pc:sldMkLst>
          <pc:docMk/>
          <pc:sldMk cId="2574699634" sldId="1572"/>
        </pc:sldMkLst>
        <pc:spChg chg="mod">
          <ac:chgData name="Dominik Buchegger" userId="7f2052fac20aabcc" providerId="LiveId" clId="{C4D69296-7BBA-4764-A51C-AEA0A42D92BA}" dt="2023-04-28T09:05:02.104" v="625" actId="20577"/>
          <ac:spMkLst>
            <pc:docMk/>
            <pc:sldMk cId="2574699634" sldId="1572"/>
            <ac:spMk id="2" creationId="{B96CACAD-078B-720D-72AB-F2A4DBBAC063}"/>
          </ac:spMkLst>
        </pc:spChg>
        <pc:spChg chg="del">
          <ac:chgData name="Dominik Buchegger" userId="7f2052fac20aabcc" providerId="LiveId" clId="{C4D69296-7BBA-4764-A51C-AEA0A42D92BA}" dt="2023-04-28T08:59:55.626" v="408" actId="478"/>
          <ac:spMkLst>
            <pc:docMk/>
            <pc:sldMk cId="2574699634" sldId="1572"/>
            <ac:spMk id="6" creationId="{4570D8D1-F4EA-189F-47C3-88E491FD1E21}"/>
          </ac:spMkLst>
        </pc:spChg>
        <pc:spChg chg="add mod">
          <ac:chgData name="Dominik Buchegger" userId="7f2052fac20aabcc" providerId="LiveId" clId="{C4D69296-7BBA-4764-A51C-AEA0A42D92BA}" dt="2023-04-28T08:59:55.626" v="408" actId="478"/>
          <ac:spMkLst>
            <pc:docMk/>
            <pc:sldMk cId="2574699634" sldId="1572"/>
            <ac:spMk id="8" creationId="{D1487E1C-F00F-5B14-D73C-0F66F8BDB19F}"/>
          </ac:spMkLst>
        </pc:spChg>
      </pc:sldChg>
      <pc:sldChg chg="del">
        <pc:chgData name="Dominik Buchegger" userId="7f2052fac20aabcc" providerId="LiveId" clId="{C4D69296-7BBA-4764-A51C-AEA0A42D92BA}" dt="2023-04-28T08:59:23.043" v="398" actId="47"/>
        <pc:sldMkLst>
          <pc:docMk/>
          <pc:sldMk cId="2953825467" sldId="1573"/>
        </pc:sldMkLst>
      </pc:sldChg>
      <pc:sldChg chg="addSp delSp modSp add mod">
        <pc:chgData name="Dominik Buchegger" userId="7f2052fac20aabcc" providerId="LiveId" clId="{C4D69296-7BBA-4764-A51C-AEA0A42D92BA}" dt="2023-04-28T09:05:00.032" v="624" actId="20577"/>
        <pc:sldMkLst>
          <pc:docMk/>
          <pc:sldMk cId="3371461181" sldId="1573"/>
        </pc:sldMkLst>
        <pc:spChg chg="mod">
          <ac:chgData name="Dominik Buchegger" userId="7f2052fac20aabcc" providerId="LiveId" clId="{C4D69296-7BBA-4764-A51C-AEA0A42D92BA}" dt="2023-04-28T09:05:00.032" v="624" actId="20577"/>
          <ac:spMkLst>
            <pc:docMk/>
            <pc:sldMk cId="3371461181" sldId="1573"/>
            <ac:spMk id="2" creationId="{B96CACAD-078B-720D-72AB-F2A4DBBAC063}"/>
          </ac:spMkLst>
        </pc:spChg>
        <pc:spChg chg="del">
          <ac:chgData name="Dominik Buchegger" userId="7f2052fac20aabcc" providerId="LiveId" clId="{C4D69296-7BBA-4764-A51C-AEA0A42D92BA}" dt="2023-04-28T09:00:00.654" v="409" actId="478"/>
          <ac:spMkLst>
            <pc:docMk/>
            <pc:sldMk cId="3371461181" sldId="1573"/>
            <ac:spMk id="3" creationId="{B9BCBBD3-2E6C-ADCF-1D5F-E190AA4442BB}"/>
          </ac:spMkLst>
        </pc:spChg>
        <pc:spChg chg="add mod">
          <ac:chgData name="Dominik Buchegger" userId="7f2052fac20aabcc" providerId="LiveId" clId="{C4D69296-7BBA-4764-A51C-AEA0A42D92BA}" dt="2023-04-28T09:00:00.654" v="409" actId="478"/>
          <ac:spMkLst>
            <pc:docMk/>
            <pc:sldMk cId="3371461181" sldId="1573"/>
            <ac:spMk id="6" creationId="{3BD9B149-D0F5-0391-2407-7C0171E78A8B}"/>
          </ac:spMkLst>
        </pc:spChg>
      </pc:sldChg>
      <pc:sldChg chg="del">
        <pc:chgData name="Dominik Buchegger" userId="7f2052fac20aabcc" providerId="LiveId" clId="{C4D69296-7BBA-4764-A51C-AEA0A42D92BA}" dt="2023-04-28T08:59:23.043" v="398" actId="47"/>
        <pc:sldMkLst>
          <pc:docMk/>
          <pc:sldMk cId="2439606922" sldId="1574"/>
        </pc:sldMkLst>
      </pc:sldChg>
      <pc:sldChg chg="addSp delSp modSp add mod">
        <pc:chgData name="Dominik Buchegger" userId="7f2052fac20aabcc" providerId="LiveId" clId="{C4D69296-7BBA-4764-A51C-AEA0A42D92BA}" dt="2023-04-28T09:05:07.791" v="630" actId="20577"/>
        <pc:sldMkLst>
          <pc:docMk/>
          <pc:sldMk cId="3474089893" sldId="1574"/>
        </pc:sldMkLst>
        <pc:spChg chg="mod">
          <ac:chgData name="Dominik Buchegger" userId="7f2052fac20aabcc" providerId="LiveId" clId="{C4D69296-7BBA-4764-A51C-AEA0A42D92BA}" dt="2023-04-28T09:05:07.791" v="630" actId="20577"/>
          <ac:spMkLst>
            <pc:docMk/>
            <pc:sldMk cId="3474089893" sldId="1574"/>
            <ac:spMk id="2" creationId="{B96CACAD-078B-720D-72AB-F2A4DBBAC063}"/>
          </ac:spMkLst>
        </pc:spChg>
        <pc:spChg chg="del">
          <ac:chgData name="Dominik Buchegger" userId="7f2052fac20aabcc" providerId="LiveId" clId="{C4D69296-7BBA-4764-A51C-AEA0A42D92BA}" dt="2023-04-28T09:00:03.576" v="410" actId="478"/>
          <ac:spMkLst>
            <pc:docMk/>
            <pc:sldMk cId="3474089893" sldId="1574"/>
            <ac:spMk id="3" creationId="{42BD6809-B7AE-9952-CF2C-DFF30AB6A704}"/>
          </ac:spMkLst>
        </pc:spChg>
        <pc:spChg chg="add mod">
          <ac:chgData name="Dominik Buchegger" userId="7f2052fac20aabcc" providerId="LiveId" clId="{C4D69296-7BBA-4764-A51C-AEA0A42D92BA}" dt="2023-04-28T09:00:03.576" v="410" actId="478"/>
          <ac:spMkLst>
            <pc:docMk/>
            <pc:sldMk cId="3474089893" sldId="1574"/>
            <ac:spMk id="6" creationId="{474B00E3-7471-D3C7-B517-6D43F4BDEE10}"/>
          </ac:spMkLst>
        </pc:spChg>
      </pc:sldChg>
      <pc:sldChg chg="del">
        <pc:chgData name="Dominik Buchegger" userId="7f2052fac20aabcc" providerId="LiveId" clId="{C4D69296-7BBA-4764-A51C-AEA0A42D92BA}" dt="2023-04-28T08:57:44.064" v="393" actId="47"/>
        <pc:sldMkLst>
          <pc:docMk/>
          <pc:sldMk cId="1788783526" sldId="1575"/>
        </pc:sldMkLst>
      </pc:sldChg>
      <pc:sldChg chg="addSp delSp modSp add mod">
        <pc:chgData name="Dominik Buchegger" userId="7f2052fac20aabcc" providerId="LiveId" clId="{C4D69296-7BBA-4764-A51C-AEA0A42D92BA}" dt="2023-04-28T09:05:34.560" v="695" actId="20577"/>
        <pc:sldMkLst>
          <pc:docMk/>
          <pc:sldMk cId="2172075571" sldId="1575"/>
        </pc:sldMkLst>
        <pc:spChg chg="mod">
          <ac:chgData name="Dominik Buchegger" userId="7f2052fac20aabcc" providerId="LiveId" clId="{C4D69296-7BBA-4764-A51C-AEA0A42D92BA}" dt="2023-04-28T09:05:34.560" v="695" actId="20577"/>
          <ac:spMkLst>
            <pc:docMk/>
            <pc:sldMk cId="2172075571" sldId="1575"/>
            <ac:spMk id="2" creationId="{B96CACAD-078B-720D-72AB-F2A4DBBAC063}"/>
          </ac:spMkLst>
        </pc:spChg>
        <pc:spChg chg="del">
          <ac:chgData name="Dominik Buchegger" userId="7f2052fac20aabcc" providerId="LiveId" clId="{C4D69296-7BBA-4764-A51C-AEA0A42D92BA}" dt="2023-04-28T09:00:07.998" v="411" actId="478"/>
          <ac:spMkLst>
            <pc:docMk/>
            <pc:sldMk cId="2172075571" sldId="1575"/>
            <ac:spMk id="3" creationId="{81214FB7-2C94-419F-A7ED-557ADF544D2D}"/>
          </ac:spMkLst>
        </pc:spChg>
        <pc:spChg chg="add mod">
          <ac:chgData name="Dominik Buchegger" userId="7f2052fac20aabcc" providerId="LiveId" clId="{C4D69296-7BBA-4764-A51C-AEA0A42D92BA}" dt="2023-04-28T09:00:07.998" v="411" actId="478"/>
          <ac:spMkLst>
            <pc:docMk/>
            <pc:sldMk cId="2172075571" sldId="1575"/>
            <ac:spMk id="6" creationId="{AB765C82-4785-ED88-D2B8-45B55FABD596}"/>
          </ac:spMkLst>
        </pc:spChg>
      </pc:sldChg>
      <pc:sldChg chg="del">
        <pc:chgData name="Dominik Buchegger" userId="7f2052fac20aabcc" providerId="LiveId" clId="{C4D69296-7BBA-4764-A51C-AEA0A42D92BA}" dt="2023-04-28T08:57:44.064" v="393" actId="47"/>
        <pc:sldMkLst>
          <pc:docMk/>
          <pc:sldMk cId="13328391" sldId="1576"/>
        </pc:sldMkLst>
      </pc:sldChg>
      <pc:sldChg chg="addSp delSp modSp add mod">
        <pc:chgData name="Dominik Buchegger" userId="7f2052fac20aabcc" providerId="LiveId" clId="{C4D69296-7BBA-4764-A51C-AEA0A42D92BA}" dt="2023-04-28T09:05:41.300" v="698"/>
        <pc:sldMkLst>
          <pc:docMk/>
          <pc:sldMk cId="2130080384" sldId="1576"/>
        </pc:sldMkLst>
        <pc:spChg chg="mod">
          <ac:chgData name="Dominik Buchegger" userId="7f2052fac20aabcc" providerId="LiveId" clId="{C4D69296-7BBA-4764-A51C-AEA0A42D92BA}" dt="2023-04-28T09:05:41.300" v="698"/>
          <ac:spMkLst>
            <pc:docMk/>
            <pc:sldMk cId="2130080384" sldId="1576"/>
            <ac:spMk id="2" creationId="{B96CACAD-078B-720D-72AB-F2A4DBBAC063}"/>
          </ac:spMkLst>
        </pc:spChg>
        <pc:spChg chg="del">
          <ac:chgData name="Dominik Buchegger" userId="7f2052fac20aabcc" providerId="LiveId" clId="{C4D69296-7BBA-4764-A51C-AEA0A42D92BA}" dt="2023-04-28T09:00:10.949" v="412" actId="478"/>
          <ac:spMkLst>
            <pc:docMk/>
            <pc:sldMk cId="2130080384" sldId="1576"/>
            <ac:spMk id="3" creationId="{3ACA62D0-690F-45BD-59EF-BE107756D87E}"/>
          </ac:spMkLst>
        </pc:spChg>
        <pc:spChg chg="add mod">
          <ac:chgData name="Dominik Buchegger" userId="7f2052fac20aabcc" providerId="LiveId" clId="{C4D69296-7BBA-4764-A51C-AEA0A42D92BA}" dt="2023-04-28T09:00:10.949" v="412" actId="478"/>
          <ac:spMkLst>
            <pc:docMk/>
            <pc:sldMk cId="2130080384" sldId="1576"/>
            <ac:spMk id="6" creationId="{EE9CE43B-685B-7CA4-FB06-A40D51F80E31}"/>
          </ac:spMkLst>
        </pc:spChg>
      </pc:sldChg>
      <pc:sldChg chg="addSp delSp modSp add mod">
        <pc:chgData name="Dominik Buchegger" userId="7f2052fac20aabcc" providerId="LiveId" clId="{C4D69296-7BBA-4764-A51C-AEA0A42D92BA}" dt="2023-04-28T09:05:55.124" v="701"/>
        <pc:sldMkLst>
          <pc:docMk/>
          <pc:sldMk cId="983026212" sldId="1577"/>
        </pc:sldMkLst>
        <pc:spChg chg="mod">
          <ac:chgData name="Dominik Buchegger" userId="7f2052fac20aabcc" providerId="LiveId" clId="{C4D69296-7BBA-4764-A51C-AEA0A42D92BA}" dt="2023-04-28T09:05:55.124" v="701"/>
          <ac:spMkLst>
            <pc:docMk/>
            <pc:sldMk cId="983026212" sldId="1577"/>
            <ac:spMk id="2" creationId="{B96CACAD-078B-720D-72AB-F2A4DBBAC063}"/>
          </ac:spMkLst>
        </pc:spChg>
        <pc:spChg chg="del">
          <ac:chgData name="Dominik Buchegger" userId="7f2052fac20aabcc" providerId="LiveId" clId="{C4D69296-7BBA-4764-A51C-AEA0A42D92BA}" dt="2023-04-28T09:00:14.383" v="413" actId="478"/>
          <ac:spMkLst>
            <pc:docMk/>
            <pc:sldMk cId="983026212" sldId="1577"/>
            <ac:spMk id="3" creationId="{04EFD9D6-C0DF-089C-BB3D-DEB643EA6E76}"/>
          </ac:spMkLst>
        </pc:spChg>
        <pc:spChg chg="add mod">
          <ac:chgData name="Dominik Buchegger" userId="7f2052fac20aabcc" providerId="LiveId" clId="{C4D69296-7BBA-4764-A51C-AEA0A42D92BA}" dt="2023-04-28T09:00:14.383" v="413" actId="478"/>
          <ac:spMkLst>
            <pc:docMk/>
            <pc:sldMk cId="983026212" sldId="1577"/>
            <ac:spMk id="6" creationId="{1E603324-532C-BCE8-1F70-928FE7DD38C2}"/>
          </ac:spMkLst>
        </pc:spChg>
      </pc:sldChg>
      <pc:sldChg chg="del">
        <pc:chgData name="Dominik Buchegger" userId="7f2052fac20aabcc" providerId="LiveId" clId="{C4D69296-7BBA-4764-A51C-AEA0A42D92BA}" dt="2023-04-28T08:57:44.064" v="393" actId="47"/>
        <pc:sldMkLst>
          <pc:docMk/>
          <pc:sldMk cId="1939768999" sldId="1577"/>
        </pc:sldMkLst>
      </pc:sldChg>
      <pc:sldChg chg="addSp delSp modSp add mod">
        <pc:chgData name="Dominik Buchegger" userId="7f2052fac20aabcc" providerId="LiveId" clId="{C4D69296-7BBA-4764-A51C-AEA0A42D92BA}" dt="2023-04-28T09:06:57.390" v="786" actId="20577"/>
        <pc:sldMkLst>
          <pc:docMk/>
          <pc:sldMk cId="1065212487" sldId="1578"/>
        </pc:sldMkLst>
        <pc:spChg chg="mod">
          <ac:chgData name="Dominik Buchegger" userId="7f2052fac20aabcc" providerId="LiveId" clId="{C4D69296-7BBA-4764-A51C-AEA0A42D92BA}" dt="2023-04-28T09:06:57.390" v="786" actId="20577"/>
          <ac:spMkLst>
            <pc:docMk/>
            <pc:sldMk cId="1065212487" sldId="1578"/>
            <ac:spMk id="2" creationId="{B96CACAD-078B-720D-72AB-F2A4DBBAC063}"/>
          </ac:spMkLst>
        </pc:spChg>
        <pc:spChg chg="del">
          <ac:chgData name="Dominik Buchegger" userId="7f2052fac20aabcc" providerId="LiveId" clId="{C4D69296-7BBA-4764-A51C-AEA0A42D92BA}" dt="2023-04-28T09:00:22.304" v="415" actId="478"/>
          <ac:spMkLst>
            <pc:docMk/>
            <pc:sldMk cId="1065212487" sldId="1578"/>
            <ac:spMk id="3" creationId="{F30BAE50-61E0-4F73-ADAC-503556118302}"/>
          </ac:spMkLst>
        </pc:spChg>
        <pc:spChg chg="add mod">
          <ac:chgData name="Dominik Buchegger" userId="7f2052fac20aabcc" providerId="LiveId" clId="{C4D69296-7BBA-4764-A51C-AEA0A42D92BA}" dt="2023-04-28T09:00:22.304" v="415" actId="478"/>
          <ac:spMkLst>
            <pc:docMk/>
            <pc:sldMk cId="1065212487" sldId="1578"/>
            <ac:spMk id="6" creationId="{FE5DED87-ABA8-152A-D9C9-1FAACDB95A81}"/>
          </ac:spMkLst>
        </pc:spChg>
      </pc:sldChg>
      <pc:sldChg chg="del">
        <pc:chgData name="Dominik Buchegger" userId="7f2052fac20aabcc" providerId="LiveId" clId="{C4D69296-7BBA-4764-A51C-AEA0A42D92BA}" dt="2023-04-28T08:57:44.064" v="393" actId="47"/>
        <pc:sldMkLst>
          <pc:docMk/>
          <pc:sldMk cId="2958788690" sldId="1578"/>
        </pc:sldMkLst>
      </pc:sldChg>
      <pc:sldChg chg="del">
        <pc:chgData name="Dominik Buchegger" userId="7f2052fac20aabcc" providerId="LiveId" clId="{C4D69296-7BBA-4764-A51C-AEA0A42D92BA}" dt="2023-04-28T08:57:44.064" v="393" actId="47"/>
        <pc:sldMkLst>
          <pc:docMk/>
          <pc:sldMk cId="693430294" sldId="1579"/>
        </pc:sldMkLst>
      </pc:sldChg>
      <pc:sldChg chg="addSp delSp modSp add mod">
        <pc:chgData name="Dominik Buchegger" userId="7f2052fac20aabcc" providerId="LiveId" clId="{C4D69296-7BBA-4764-A51C-AEA0A42D92BA}" dt="2023-04-28T09:07:19.602" v="815" actId="20577"/>
        <pc:sldMkLst>
          <pc:docMk/>
          <pc:sldMk cId="4134961369" sldId="1579"/>
        </pc:sldMkLst>
        <pc:spChg chg="del">
          <ac:chgData name="Dominik Buchegger" userId="7f2052fac20aabcc" providerId="LiveId" clId="{C4D69296-7BBA-4764-A51C-AEA0A42D92BA}" dt="2023-04-28T09:00:25.427" v="416" actId="478"/>
          <ac:spMkLst>
            <pc:docMk/>
            <pc:sldMk cId="4134961369" sldId="1579"/>
            <ac:spMk id="2" creationId="{ECD7AE63-ED49-B485-3894-C8245818A559}"/>
          </ac:spMkLst>
        </pc:spChg>
        <pc:spChg chg="add mod">
          <ac:chgData name="Dominik Buchegger" userId="7f2052fac20aabcc" providerId="LiveId" clId="{C4D69296-7BBA-4764-A51C-AEA0A42D92BA}" dt="2023-04-28T09:00:25.427" v="416" actId="478"/>
          <ac:spMkLst>
            <pc:docMk/>
            <pc:sldMk cId="4134961369" sldId="1579"/>
            <ac:spMk id="4" creationId="{7947E956-778C-BD4E-C37B-0B55CE76C098}"/>
          </ac:spMkLst>
        </pc:spChg>
        <pc:spChg chg="mod">
          <ac:chgData name="Dominik Buchegger" userId="7f2052fac20aabcc" providerId="LiveId" clId="{C4D69296-7BBA-4764-A51C-AEA0A42D92BA}" dt="2023-04-28T09:07:19.602" v="815" actId="20577"/>
          <ac:spMkLst>
            <pc:docMk/>
            <pc:sldMk cId="4134961369" sldId="1579"/>
            <ac:spMk id="13" creationId="{A244357B-FD44-EE2B-1AA2-D533A360550B}"/>
          </ac:spMkLst>
        </pc:spChg>
      </pc:sldChg>
      <pc:sldChg chg="addSp delSp modSp add mod">
        <pc:chgData name="Dominik Buchegger" userId="7f2052fac20aabcc" providerId="LiveId" clId="{C4D69296-7BBA-4764-A51C-AEA0A42D92BA}" dt="2023-04-28T09:07:39.714" v="830" actId="20577"/>
        <pc:sldMkLst>
          <pc:docMk/>
          <pc:sldMk cId="2538237896" sldId="1580"/>
        </pc:sldMkLst>
        <pc:spChg chg="del">
          <ac:chgData name="Dominik Buchegger" userId="7f2052fac20aabcc" providerId="LiveId" clId="{C4D69296-7BBA-4764-A51C-AEA0A42D92BA}" dt="2023-04-28T09:00:28.939" v="417" actId="478"/>
          <ac:spMkLst>
            <pc:docMk/>
            <pc:sldMk cId="2538237896" sldId="1580"/>
            <ac:spMk id="2" creationId="{D17D90FA-5903-2A42-B0A4-C9B27BEFFAB9}"/>
          </ac:spMkLst>
        </pc:spChg>
        <pc:spChg chg="add mod">
          <ac:chgData name="Dominik Buchegger" userId="7f2052fac20aabcc" providerId="LiveId" clId="{C4D69296-7BBA-4764-A51C-AEA0A42D92BA}" dt="2023-04-28T09:00:28.939" v="417" actId="478"/>
          <ac:spMkLst>
            <pc:docMk/>
            <pc:sldMk cId="2538237896" sldId="1580"/>
            <ac:spMk id="4" creationId="{6EEEE34E-43A4-FE1F-DA4B-2C6DE735DEA0}"/>
          </ac:spMkLst>
        </pc:spChg>
        <pc:spChg chg="mod">
          <ac:chgData name="Dominik Buchegger" userId="7f2052fac20aabcc" providerId="LiveId" clId="{C4D69296-7BBA-4764-A51C-AEA0A42D92BA}" dt="2023-04-28T09:07:39.714" v="830" actId="20577"/>
          <ac:spMkLst>
            <pc:docMk/>
            <pc:sldMk cId="2538237896" sldId="1580"/>
            <ac:spMk id="9" creationId="{75D5CFE3-F1FD-4EB6-9C43-F56853B32AEF}"/>
          </ac:spMkLst>
        </pc:spChg>
      </pc:sldChg>
      <pc:sldChg chg="del">
        <pc:chgData name="Dominik Buchegger" userId="7f2052fac20aabcc" providerId="LiveId" clId="{C4D69296-7BBA-4764-A51C-AEA0A42D92BA}" dt="2023-04-28T08:57:44.064" v="393" actId="47"/>
        <pc:sldMkLst>
          <pc:docMk/>
          <pc:sldMk cId="3425992774" sldId="1580"/>
        </pc:sldMkLst>
      </pc:sldChg>
      <pc:sldChg chg="del">
        <pc:chgData name="Dominik Buchegger" userId="7f2052fac20aabcc" providerId="LiveId" clId="{C4D69296-7BBA-4764-A51C-AEA0A42D92BA}" dt="2023-04-28T08:57:44.064" v="393" actId="47"/>
        <pc:sldMkLst>
          <pc:docMk/>
          <pc:sldMk cId="733635319" sldId="1581"/>
        </pc:sldMkLst>
      </pc:sldChg>
      <pc:sldChg chg="addSp delSp modSp add mod">
        <pc:chgData name="Dominik Buchegger" userId="7f2052fac20aabcc" providerId="LiveId" clId="{C4D69296-7BBA-4764-A51C-AEA0A42D92BA}" dt="2023-04-28T09:12:16.184" v="909" actId="20577"/>
        <pc:sldMkLst>
          <pc:docMk/>
          <pc:sldMk cId="723318487" sldId="1582"/>
        </pc:sldMkLst>
        <pc:spChg chg="del">
          <ac:chgData name="Dominik Buchegger" userId="7f2052fac20aabcc" providerId="LiveId" clId="{C4D69296-7BBA-4764-A51C-AEA0A42D92BA}" dt="2023-04-28T09:10:47.293" v="854" actId="478"/>
          <ac:spMkLst>
            <pc:docMk/>
            <pc:sldMk cId="723318487" sldId="1582"/>
            <ac:spMk id="3" creationId="{D457EF17-3F8F-5F3C-D235-ABE6EEBEC219}"/>
          </ac:spMkLst>
        </pc:spChg>
        <pc:spChg chg="add mod">
          <ac:chgData name="Dominik Buchegger" userId="7f2052fac20aabcc" providerId="LiveId" clId="{C4D69296-7BBA-4764-A51C-AEA0A42D92BA}" dt="2023-04-28T09:10:47.293" v="854" actId="478"/>
          <ac:spMkLst>
            <pc:docMk/>
            <pc:sldMk cId="723318487" sldId="1582"/>
            <ac:spMk id="5" creationId="{E8B1E3DD-0563-2FEA-00F0-A8752BC994FD}"/>
          </ac:spMkLst>
        </pc:spChg>
        <pc:spChg chg="mod">
          <ac:chgData name="Dominik Buchegger" userId="7f2052fac20aabcc" providerId="LiveId" clId="{C4D69296-7BBA-4764-A51C-AEA0A42D92BA}" dt="2023-04-28T09:12:16.184" v="909" actId="20577"/>
          <ac:spMkLst>
            <pc:docMk/>
            <pc:sldMk cId="723318487" sldId="1582"/>
            <ac:spMk id="6" creationId="{F5EEC294-B771-D940-6194-AB1896DE8ECA}"/>
          </ac:spMkLst>
        </pc:spChg>
      </pc:sldChg>
      <pc:sldChg chg="del">
        <pc:chgData name="Dominik Buchegger" userId="7f2052fac20aabcc" providerId="LiveId" clId="{C4D69296-7BBA-4764-A51C-AEA0A42D92BA}" dt="2023-04-28T08:57:44.064" v="393" actId="47"/>
        <pc:sldMkLst>
          <pc:docMk/>
          <pc:sldMk cId="2303736671" sldId="1582"/>
        </pc:sldMkLst>
      </pc:sldChg>
      <pc:sldChg chg="addSp delSp modSp add mod">
        <pc:chgData name="Dominik Buchegger" userId="7f2052fac20aabcc" providerId="LiveId" clId="{C4D69296-7BBA-4764-A51C-AEA0A42D92BA}" dt="2023-04-28T09:06:35.199" v="771" actId="20577"/>
        <pc:sldMkLst>
          <pc:docMk/>
          <pc:sldMk cId="1276492678" sldId="1583"/>
        </pc:sldMkLst>
        <pc:spChg chg="del">
          <ac:chgData name="Dominik Buchegger" userId="7f2052fac20aabcc" providerId="LiveId" clId="{C4D69296-7BBA-4764-A51C-AEA0A42D92BA}" dt="2023-04-28T09:00:19.254" v="414" actId="478"/>
          <ac:spMkLst>
            <pc:docMk/>
            <pc:sldMk cId="1276492678" sldId="1583"/>
            <ac:spMk id="2" creationId="{15E8E404-0B7B-3576-A5E6-3C6896541C40}"/>
          </ac:spMkLst>
        </pc:spChg>
        <pc:spChg chg="add mod">
          <ac:chgData name="Dominik Buchegger" userId="7f2052fac20aabcc" providerId="LiveId" clId="{C4D69296-7BBA-4764-A51C-AEA0A42D92BA}" dt="2023-04-28T09:00:19.254" v="414" actId="478"/>
          <ac:spMkLst>
            <pc:docMk/>
            <pc:sldMk cId="1276492678" sldId="1583"/>
            <ac:spMk id="6" creationId="{AD34E29F-BE3D-A4B4-0695-5339E77F3F80}"/>
          </ac:spMkLst>
        </pc:spChg>
        <pc:spChg chg="mod">
          <ac:chgData name="Dominik Buchegger" userId="7f2052fac20aabcc" providerId="LiveId" clId="{C4D69296-7BBA-4764-A51C-AEA0A42D92BA}" dt="2023-04-28T09:06:35.199" v="771" actId="20577"/>
          <ac:spMkLst>
            <pc:docMk/>
            <pc:sldMk cId="1276492678" sldId="1583"/>
            <ac:spMk id="9" creationId="{75D5CFE3-F1FD-4EB6-9C43-F56853B32AEF}"/>
          </ac:spMkLst>
        </pc:spChg>
      </pc:sldChg>
      <pc:sldChg chg="del">
        <pc:chgData name="Dominik Buchegger" userId="7f2052fac20aabcc" providerId="LiveId" clId="{C4D69296-7BBA-4764-A51C-AEA0A42D92BA}" dt="2023-04-28T08:57:44.064" v="393" actId="47"/>
        <pc:sldMkLst>
          <pc:docMk/>
          <pc:sldMk cId="2457310728" sldId="1583"/>
        </pc:sldMkLst>
      </pc:sldChg>
      <pc:sldChg chg="del">
        <pc:chgData name="Dominik Buchegger" userId="7f2052fac20aabcc" providerId="LiveId" clId="{C4D69296-7BBA-4764-A51C-AEA0A42D92BA}" dt="2023-04-28T08:57:44.064" v="393" actId="47"/>
        <pc:sldMkLst>
          <pc:docMk/>
          <pc:sldMk cId="4063859221" sldId="1584"/>
        </pc:sldMkLst>
      </pc:sldChg>
      <pc:sldChg chg="addSp delSp modSp add mod">
        <pc:chgData name="Dominik Buchegger" userId="7f2052fac20aabcc" providerId="LiveId" clId="{C4D69296-7BBA-4764-A51C-AEA0A42D92BA}" dt="2023-04-28T08:57:31.732" v="390" actId="478"/>
        <pc:sldMkLst>
          <pc:docMk/>
          <pc:sldMk cId="4127138690" sldId="1586"/>
        </pc:sldMkLst>
        <pc:spChg chg="del">
          <ac:chgData name="Dominik Buchegger" userId="7f2052fac20aabcc" providerId="LiveId" clId="{C4D69296-7BBA-4764-A51C-AEA0A42D92BA}" dt="2023-04-28T08:57:31.732" v="390" actId="478"/>
          <ac:spMkLst>
            <pc:docMk/>
            <pc:sldMk cId="4127138690" sldId="1586"/>
            <ac:spMk id="3" creationId="{D457EF17-3F8F-5F3C-D235-ABE6EEBEC219}"/>
          </ac:spMkLst>
        </pc:spChg>
        <pc:spChg chg="add mod">
          <ac:chgData name="Dominik Buchegger" userId="7f2052fac20aabcc" providerId="LiveId" clId="{C4D69296-7BBA-4764-A51C-AEA0A42D92BA}" dt="2023-04-28T08:57:31.732" v="390" actId="478"/>
          <ac:spMkLst>
            <pc:docMk/>
            <pc:sldMk cId="4127138690" sldId="1586"/>
            <ac:spMk id="5" creationId="{D121CD2D-F65E-AFE7-22D9-EE462F2B3269}"/>
          </ac:spMkLst>
        </pc:spChg>
      </pc:sldChg>
      <pc:sldChg chg="del">
        <pc:chgData name="Dominik Buchegger" userId="7f2052fac20aabcc" providerId="LiveId" clId="{C4D69296-7BBA-4764-A51C-AEA0A42D92BA}" dt="2023-04-28T08:59:23.043" v="398" actId="47"/>
        <pc:sldMkLst>
          <pc:docMk/>
          <pc:sldMk cId="3905502700" sldId="1587"/>
        </pc:sldMkLst>
      </pc:sldChg>
      <pc:sldChg chg="del">
        <pc:chgData name="Dominik Buchegger" userId="7f2052fac20aabcc" providerId="LiveId" clId="{C4D69296-7BBA-4764-A51C-AEA0A42D92BA}" dt="2023-04-28T08:58:59.186" v="395" actId="47"/>
        <pc:sldMkLst>
          <pc:docMk/>
          <pc:sldMk cId="1137320699" sldId="1588"/>
        </pc:sldMkLst>
      </pc:sldChg>
      <pc:sldChg chg="del">
        <pc:chgData name="Dominik Buchegger" userId="7f2052fac20aabcc" providerId="LiveId" clId="{C4D69296-7BBA-4764-A51C-AEA0A42D92BA}" dt="2023-04-28T08:58:59.186" v="395" actId="47"/>
        <pc:sldMkLst>
          <pc:docMk/>
          <pc:sldMk cId="2474440386" sldId="1589"/>
        </pc:sldMkLst>
      </pc:sldChg>
      <pc:sldChg chg="del">
        <pc:chgData name="Dominik Buchegger" userId="7f2052fac20aabcc" providerId="LiveId" clId="{C4D69296-7BBA-4764-A51C-AEA0A42D92BA}" dt="2023-04-28T08:58:59.186" v="395" actId="47"/>
        <pc:sldMkLst>
          <pc:docMk/>
          <pc:sldMk cId="672938778" sldId="1590"/>
        </pc:sldMkLst>
      </pc:sldChg>
      <pc:sldChg chg="del">
        <pc:chgData name="Dominik Buchegger" userId="7f2052fac20aabcc" providerId="LiveId" clId="{C4D69296-7BBA-4764-A51C-AEA0A42D92BA}" dt="2023-04-28T08:58:59.186" v="395" actId="47"/>
        <pc:sldMkLst>
          <pc:docMk/>
          <pc:sldMk cId="1303674661" sldId="1591"/>
        </pc:sldMkLst>
      </pc:sldChg>
      <pc:sldChg chg="del">
        <pc:chgData name="Dominik Buchegger" userId="7f2052fac20aabcc" providerId="LiveId" clId="{C4D69296-7BBA-4764-A51C-AEA0A42D92BA}" dt="2023-04-28T08:58:59.186" v="395" actId="47"/>
        <pc:sldMkLst>
          <pc:docMk/>
          <pc:sldMk cId="848798205" sldId="1593"/>
        </pc:sldMkLst>
      </pc:sldChg>
      <pc:sldChg chg="del">
        <pc:chgData name="Dominik Buchegger" userId="7f2052fac20aabcc" providerId="LiveId" clId="{C4D69296-7BBA-4764-A51C-AEA0A42D92BA}" dt="2023-04-28T08:58:59.186" v="395" actId="47"/>
        <pc:sldMkLst>
          <pc:docMk/>
          <pc:sldMk cId="453638290" sldId="1595"/>
        </pc:sldMkLst>
      </pc:sldChg>
      <pc:sldChg chg="del">
        <pc:chgData name="Dominik Buchegger" userId="7f2052fac20aabcc" providerId="LiveId" clId="{C4D69296-7BBA-4764-A51C-AEA0A42D92BA}" dt="2023-04-28T08:58:59.186" v="395" actId="47"/>
        <pc:sldMkLst>
          <pc:docMk/>
          <pc:sldMk cId="3358356206" sldId="1596"/>
        </pc:sldMkLst>
      </pc:sldChg>
      <pc:sldChg chg="del">
        <pc:chgData name="Dominik Buchegger" userId="7f2052fac20aabcc" providerId="LiveId" clId="{C4D69296-7BBA-4764-A51C-AEA0A42D92BA}" dt="2023-04-28T08:58:59.186" v="395" actId="47"/>
        <pc:sldMkLst>
          <pc:docMk/>
          <pc:sldMk cId="374148858" sldId="1597"/>
        </pc:sldMkLst>
      </pc:sldChg>
      <pc:sldChg chg="del">
        <pc:chgData name="Dominik Buchegger" userId="7f2052fac20aabcc" providerId="LiveId" clId="{C4D69296-7BBA-4764-A51C-AEA0A42D92BA}" dt="2023-04-28T08:58:59.186" v="395" actId="47"/>
        <pc:sldMkLst>
          <pc:docMk/>
          <pc:sldMk cId="2342333774" sldId="1598"/>
        </pc:sldMkLst>
      </pc:sldChg>
      <pc:sldChg chg="del">
        <pc:chgData name="Dominik Buchegger" userId="7f2052fac20aabcc" providerId="LiveId" clId="{C4D69296-7BBA-4764-A51C-AEA0A42D92BA}" dt="2023-04-28T08:59:23.043" v="398" actId="47"/>
        <pc:sldMkLst>
          <pc:docMk/>
          <pc:sldMk cId="2096652361" sldId="1599"/>
        </pc:sldMkLst>
      </pc:sldChg>
      <pc:sldChg chg="del">
        <pc:chgData name="Dominik Buchegger" userId="7f2052fac20aabcc" providerId="LiveId" clId="{C4D69296-7BBA-4764-A51C-AEA0A42D92BA}" dt="2023-04-28T08:59:23.043" v="398" actId="47"/>
        <pc:sldMkLst>
          <pc:docMk/>
          <pc:sldMk cId="2700115944" sldId="1600"/>
        </pc:sldMkLst>
      </pc:sldChg>
      <pc:sldChg chg="modSp add del mod">
        <pc:chgData name="Dominik Buchegger" userId="7f2052fac20aabcc" providerId="LiveId" clId="{C4D69296-7BBA-4764-A51C-AEA0A42D92BA}" dt="2023-04-28T09:00:57.568" v="431" actId="47"/>
        <pc:sldMkLst>
          <pc:docMk/>
          <pc:sldMk cId="36890478" sldId="1601"/>
        </pc:sldMkLst>
        <pc:spChg chg="mod">
          <ac:chgData name="Dominik Buchegger" userId="7f2052fac20aabcc" providerId="LiveId" clId="{C4D69296-7BBA-4764-A51C-AEA0A42D92BA}" dt="2023-04-28T08:56:31.749" v="383" actId="6549"/>
          <ac:spMkLst>
            <pc:docMk/>
            <pc:sldMk cId="36890478" sldId="1601"/>
            <ac:spMk id="2" creationId="{38C104DD-55A5-D5D7-68B1-A81097757DA7}"/>
          </ac:spMkLst>
        </pc:spChg>
      </pc:sldChg>
      <pc:sldChg chg="addSp delSp modSp add mod">
        <pc:chgData name="Dominik Buchegger" userId="7f2052fac20aabcc" providerId="LiveId" clId="{C4D69296-7BBA-4764-A51C-AEA0A42D92BA}" dt="2023-04-28T08:57:27.878" v="389" actId="478"/>
        <pc:sldMkLst>
          <pc:docMk/>
          <pc:sldMk cId="1961998598" sldId="1602"/>
        </pc:sldMkLst>
        <pc:spChg chg="add mod">
          <ac:chgData name="Dominik Buchegger" userId="7f2052fac20aabcc" providerId="LiveId" clId="{C4D69296-7BBA-4764-A51C-AEA0A42D92BA}" dt="2023-04-28T08:57:27.878" v="389" actId="478"/>
          <ac:spMkLst>
            <pc:docMk/>
            <pc:sldMk cId="1961998598" sldId="1602"/>
            <ac:spMk id="4" creationId="{F80E1939-F214-F989-D89D-279C532297A1}"/>
          </ac:spMkLst>
        </pc:spChg>
        <pc:spChg chg="del">
          <ac:chgData name="Dominik Buchegger" userId="7f2052fac20aabcc" providerId="LiveId" clId="{C4D69296-7BBA-4764-A51C-AEA0A42D92BA}" dt="2023-04-28T08:57:27.878" v="389" actId="478"/>
          <ac:spMkLst>
            <pc:docMk/>
            <pc:sldMk cId="1961998598" sldId="1602"/>
            <ac:spMk id="6" creationId="{D49BFC3D-C372-5074-9721-17B4C5E1408D}"/>
          </ac:spMkLst>
        </pc:spChg>
      </pc:sldChg>
      <pc:sldChg chg="modSp add del mod ord">
        <pc:chgData name="Dominik Buchegger" userId="7f2052fac20aabcc" providerId="LiveId" clId="{C4D69296-7BBA-4764-A51C-AEA0A42D92BA}" dt="2023-04-28T09:07:43.884" v="831" actId="47"/>
        <pc:sldMkLst>
          <pc:docMk/>
          <pc:sldMk cId="723758702" sldId="1603"/>
        </pc:sldMkLst>
        <pc:spChg chg="mod">
          <ac:chgData name="Dominik Buchegger" userId="7f2052fac20aabcc" providerId="LiveId" clId="{C4D69296-7BBA-4764-A51C-AEA0A42D92BA}" dt="2023-04-28T09:00:51.198" v="430" actId="20577"/>
          <ac:spMkLst>
            <pc:docMk/>
            <pc:sldMk cId="723758702" sldId="1603"/>
            <ac:spMk id="2" creationId="{38C104DD-55A5-D5D7-68B1-A81097757DA7}"/>
          </ac:spMkLst>
        </pc:spChg>
      </pc:sldChg>
      <pc:sldChg chg="modSp add mod">
        <pc:chgData name="Dominik Buchegger" userId="7f2052fac20aabcc" providerId="LiveId" clId="{C4D69296-7BBA-4764-A51C-AEA0A42D92BA}" dt="2023-04-28T09:10:37.744" v="853" actId="20577"/>
        <pc:sldMkLst>
          <pc:docMk/>
          <pc:sldMk cId="2368893082" sldId="1604"/>
        </pc:sldMkLst>
        <pc:spChg chg="mod">
          <ac:chgData name="Dominik Buchegger" userId="7f2052fac20aabcc" providerId="LiveId" clId="{C4D69296-7BBA-4764-A51C-AEA0A42D92BA}" dt="2023-04-28T09:10:37.744" v="853" actId="20577"/>
          <ac:spMkLst>
            <pc:docMk/>
            <pc:sldMk cId="2368893082" sldId="1604"/>
            <ac:spMk id="2" creationId="{38C104DD-55A5-D5D7-68B1-A81097757DA7}"/>
          </ac:spMkLst>
        </pc:spChg>
      </pc:sldChg>
      <pc:sldChg chg="modSp add mod">
        <pc:chgData name="Dominik Buchegger" userId="7f2052fac20aabcc" providerId="LiveId" clId="{C4D69296-7BBA-4764-A51C-AEA0A42D92BA}" dt="2023-04-28T09:10:14.930" v="837" actId="27636"/>
        <pc:sldMkLst>
          <pc:docMk/>
          <pc:sldMk cId="203155720" sldId="1605"/>
        </pc:sldMkLst>
        <pc:spChg chg="mod">
          <ac:chgData name="Dominik Buchegger" userId="7f2052fac20aabcc" providerId="LiveId" clId="{C4D69296-7BBA-4764-A51C-AEA0A42D92BA}" dt="2023-04-28T09:10:14.930" v="837" actId="27636"/>
          <ac:spMkLst>
            <pc:docMk/>
            <pc:sldMk cId="203155720" sldId="1605"/>
            <ac:spMk id="2" creationId="{A92E3E48-FF8A-5E4C-67CC-8B0608A09C2C}"/>
          </ac:spMkLst>
        </pc:spChg>
      </pc:sldChg>
      <pc:sldChg chg="modSp add mod ord">
        <pc:chgData name="Dominik Buchegger" userId="7f2052fac20aabcc" providerId="LiveId" clId="{C4D69296-7BBA-4764-A51C-AEA0A42D92BA}" dt="2023-04-28T09:12:31.932" v="937" actId="20577"/>
        <pc:sldMkLst>
          <pc:docMk/>
          <pc:sldMk cId="3750821344" sldId="1606"/>
        </pc:sldMkLst>
        <pc:spChg chg="mod">
          <ac:chgData name="Dominik Buchegger" userId="7f2052fac20aabcc" providerId="LiveId" clId="{C4D69296-7BBA-4764-A51C-AEA0A42D92BA}" dt="2023-04-28T09:12:31.932" v="937" actId="20577"/>
          <ac:spMkLst>
            <pc:docMk/>
            <pc:sldMk cId="3750821344" sldId="1606"/>
            <ac:spMk id="6" creationId="{F5EEC294-B771-D940-6194-AB1896DE8ECA}"/>
          </ac:spMkLst>
        </pc:spChg>
        <pc:spChg chg="mod">
          <ac:chgData name="Dominik Buchegger" userId="7f2052fac20aabcc" providerId="LiveId" clId="{C4D69296-7BBA-4764-A51C-AEA0A42D92BA}" dt="2023-04-28T09:11:09.139" v="876" actId="20577"/>
          <ac:spMkLst>
            <pc:docMk/>
            <pc:sldMk cId="3750821344" sldId="1606"/>
            <ac:spMk id="7" creationId="{F666E8F7-8B25-B437-131E-F8882B62E16E}"/>
          </ac:spMkLst>
        </pc:spChg>
      </pc:sldChg>
      <pc:sldMasterChg chg="delSldLayout">
        <pc:chgData name="Dominik Buchegger" userId="7f2052fac20aabcc" providerId="LiveId" clId="{C4D69296-7BBA-4764-A51C-AEA0A42D92BA}" dt="2023-04-28T08:59:23.043" v="398" actId="47"/>
        <pc:sldMasterMkLst>
          <pc:docMk/>
          <pc:sldMasterMk cId="4246037650" sldId="2147483660"/>
        </pc:sldMasterMkLst>
        <pc:sldLayoutChg chg="del">
          <pc:chgData name="Dominik Buchegger" userId="7f2052fac20aabcc" providerId="LiveId" clId="{C4D69296-7BBA-4764-A51C-AEA0A42D92BA}" dt="2023-04-28T08:59:23.043" v="398" actId="47"/>
          <pc:sldLayoutMkLst>
            <pc:docMk/>
            <pc:sldMasterMk cId="4246037650" sldId="2147483660"/>
            <pc:sldLayoutMk cId="3359459193" sldId="2147483707"/>
          </pc:sldLayoutMkLst>
        </pc:sldLayoutChg>
      </pc:sldMasterChg>
    </pc:docChg>
  </pc:docChgLst>
  <pc:docChgLst>
    <pc:chgData name="Dominik Buchegger" userId="7f2052fac20aabcc" providerId="LiveId" clId="{B4EFEF2A-C901-4B25-AEFF-6DE77B5C6085}"/>
    <pc:docChg chg="undo custSel modSld">
      <pc:chgData name="Dominik Buchegger" userId="7f2052fac20aabcc" providerId="LiveId" clId="{B4EFEF2A-C901-4B25-AEFF-6DE77B5C6085}" dt="2023-03-31T12:36:04.133" v="177" actId="20577"/>
      <pc:docMkLst>
        <pc:docMk/>
      </pc:docMkLst>
      <pc:sldChg chg="modSp mod">
        <pc:chgData name="Dominik Buchegger" userId="7f2052fac20aabcc" providerId="LiveId" clId="{B4EFEF2A-C901-4B25-AEFF-6DE77B5C6085}" dt="2023-03-31T12:34:36.155" v="33" actId="20577"/>
        <pc:sldMkLst>
          <pc:docMk/>
          <pc:sldMk cId="3772496692" sldId="256"/>
        </pc:sldMkLst>
        <pc:spChg chg="mod">
          <ac:chgData name="Dominik Buchegger" userId="7f2052fac20aabcc" providerId="LiveId" clId="{B4EFEF2A-C901-4B25-AEFF-6DE77B5C6085}" dt="2023-03-31T12:34:36.155" v="33" actId="20577"/>
          <ac:spMkLst>
            <pc:docMk/>
            <pc:sldMk cId="3772496692" sldId="256"/>
            <ac:spMk id="13" creationId="{0C11E479-9B3A-42D2-A07C-80F9E924336D}"/>
          </ac:spMkLst>
        </pc:spChg>
      </pc:sldChg>
      <pc:sldChg chg="modSp mod">
        <pc:chgData name="Dominik Buchegger" userId="7f2052fac20aabcc" providerId="LiveId" clId="{B4EFEF2A-C901-4B25-AEFF-6DE77B5C6085}" dt="2023-03-31T12:36:04.133" v="177" actId="20577"/>
        <pc:sldMkLst>
          <pc:docMk/>
          <pc:sldMk cId="3950133140" sldId="1425"/>
        </pc:sldMkLst>
        <pc:spChg chg="mod">
          <ac:chgData name="Dominik Buchegger" userId="7f2052fac20aabcc" providerId="LiveId" clId="{B4EFEF2A-C901-4B25-AEFF-6DE77B5C6085}" dt="2023-03-31T12:36:04.133" v="177" actId="20577"/>
          <ac:spMkLst>
            <pc:docMk/>
            <pc:sldMk cId="3950133140" sldId="1425"/>
            <ac:spMk id="16" creationId="{909CA527-9C4E-4704-9579-AA53445EF11F}"/>
          </ac:spMkLst>
        </pc:spChg>
      </pc:sldChg>
    </pc:docChg>
  </pc:docChgLst>
  <pc:docChgLst>
    <pc:chgData name="Cahenzli, Marcel" userId="79a3a718-b9c4-415e-968f-b145785c5e23" providerId="ADAL" clId="{ED9D0B7F-D6CF-4B11-BF42-D8CF38572436}"/>
    <pc:docChg chg="modSld">
      <pc:chgData name="Cahenzli, Marcel" userId="79a3a718-b9c4-415e-968f-b145785c5e23" providerId="ADAL" clId="{ED9D0B7F-D6CF-4B11-BF42-D8CF38572436}" dt="2023-03-31T08:39:49.350" v="4" actId="20577"/>
      <pc:docMkLst>
        <pc:docMk/>
      </pc:docMkLst>
      <pc:sldChg chg="modSp mod">
        <pc:chgData name="Cahenzli, Marcel" userId="79a3a718-b9c4-415e-968f-b145785c5e23" providerId="ADAL" clId="{ED9D0B7F-D6CF-4B11-BF42-D8CF38572436}" dt="2023-03-31T08:39:49.350" v="4" actId="20577"/>
        <pc:sldMkLst>
          <pc:docMk/>
          <pc:sldMk cId="312220956" sldId="1559"/>
        </pc:sldMkLst>
        <pc:spChg chg="mod">
          <ac:chgData name="Cahenzli, Marcel" userId="79a3a718-b9c4-415e-968f-b145785c5e23" providerId="ADAL" clId="{ED9D0B7F-D6CF-4B11-BF42-D8CF38572436}" dt="2023-03-31T08:38:30.443" v="0" actId="20577"/>
          <ac:spMkLst>
            <pc:docMk/>
            <pc:sldMk cId="312220956" sldId="1559"/>
            <ac:spMk id="3" creationId="{9114EA47-D518-7860-DC8F-913EBD6170CB}"/>
          </ac:spMkLst>
        </pc:spChg>
        <pc:spChg chg="mod">
          <ac:chgData name="Cahenzli, Marcel" userId="79a3a718-b9c4-415e-968f-b145785c5e23" providerId="ADAL" clId="{ED9D0B7F-D6CF-4B11-BF42-D8CF38572436}" dt="2023-03-31T08:39:49.350" v="4" actId="20577"/>
          <ac:spMkLst>
            <pc:docMk/>
            <pc:sldMk cId="312220956" sldId="1559"/>
            <ac:spMk id="4" creationId="{D1E91B4C-FDEB-8FF6-5472-D87D4C19CC4E}"/>
          </ac:spMkLst>
        </pc:spChg>
      </pc:sldChg>
    </pc:docChg>
  </pc:docChgLst>
  <pc:docChgLst>
    <pc:chgData name="Dominik Buchegger" userId="4419538d-6150-464b-ac11-eb0323261855" providerId="ADAL" clId="{18618F49-CB4F-4F75-B698-CED18DF91205}"/>
    <pc:docChg chg="undo redo custSel addSld delSld modSld sldOrd">
      <pc:chgData name="Dominik Buchegger" userId="4419538d-6150-464b-ac11-eb0323261855" providerId="ADAL" clId="{18618F49-CB4F-4F75-B698-CED18DF91205}" dt="2023-03-30T18:36:43.737" v="6875" actId="20577"/>
      <pc:docMkLst>
        <pc:docMk/>
      </pc:docMkLst>
      <pc:sldChg chg="modSp mod">
        <pc:chgData name="Dominik Buchegger" userId="4419538d-6150-464b-ac11-eb0323261855" providerId="ADAL" clId="{18618F49-CB4F-4F75-B698-CED18DF91205}" dt="2023-03-30T18:26:55.182" v="6836" actId="207"/>
        <pc:sldMkLst>
          <pc:docMk/>
          <pc:sldMk cId="1987410233" sldId="1534"/>
        </pc:sldMkLst>
        <pc:spChg chg="mod">
          <ac:chgData name="Dominik Buchegger" userId="4419538d-6150-464b-ac11-eb0323261855" providerId="ADAL" clId="{18618F49-CB4F-4F75-B698-CED18DF91205}" dt="2023-03-30T18:26:07.007" v="6830" actId="207"/>
          <ac:spMkLst>
            <pc:docMk/>
            <pc:sldMk cId="1987410233" sldId="1534"/>
            <ac:spMk id="9" creationId="{29596F6B-767B-0B7C-B4C3-62792847DDD0}"/>
          </ac:spMkLst>
        </pc:spChg>
        <pc:spChg chg="mod">
          <ac:chgData name="Dominik Buchegger" userId="4419538d-6150-464b-ac11-eb0323261855" providerId="ADAL" clId="{18618F49-CB4F-4F75-B698-CED18DF91205}" dt="2023-03-30T18:26:55.182" v="6836" actId="207"/>
          <ac:spMkLst>
            <pc:docMk/>
            <pc:sldMk cId="1987410233" sldId="1534"/>
            <ac:spMk id="13" creationId="{B68DE289-F23A-7878-EFFE-997DBBA4E356}"/>
          </ac:spMkLst>
        </pc:spChg>
      </pc:sldChg>
      <pc:sldChg chg="modSp mod">
        <pc:chgData name="Dominik Buchegger" userId="4419538d-6150-464b-ac11-eb0323261855" providerId="ADAL" clId="{18618F49-CB4F-4F75-B698-CED18DF91205}" dt="2023-03-30T18:27:38.064" v="6843" actId="1076"/>
        <pc:sldMkLst>
          <pc:docMk/>
          <pc:sldMk cId="1281915614" sldId="1535"/>
        </pc:sldMkLst>
        <pc:spChg chg="mod">
          <ac:chgData name="Dominik Buchegger" userId="4419538d-6150-464b-ac11-eb0323261855" providerId="ADAL" clId="{18618F49-CB4F-4F75-B698-CED18DF91205}" dt="2023-03-30T18:26:15.217" v="6831" actId="207"/>
          <ac:spMkLst>
            <pc:docMk/>
            <pc:sldMk cId="1281915614" sldId="1535"/>
            <ac:spMk id="9" creationId="{29596F6B-767B-0B7C-B4C3-62792847DDD0}"/>
          </ac:spMkLst>
        </pc:spChg>
        <pc:spChg chg="mod">
          <ac:chgData name="Dominik Buchegger" userId="4419538d-6150-464b-ac11-eb0323261855" providerId="ADAL" clId="{18618F49-CB4F-4F75-B698-CED18DF91205}" dt="2023-03-30T18:26:29.484" v="6832" actId="207"/>
          <ac:spMkLst>
            <pc:docMk/>
            <pc:sldMk cId="1281915614" sldId="1535"/>
            <ac:spMk id="10" creationId="{F5FB8E51-CCDD-664A-3148-19850B774843}"/>
          </ac:spMkLst>
        </pc:spChg>
        <pc:spChg chg="mod">
          <ac:chgData name="Dominik Buchegger" userId="4419538d-6150-464b-ac11-eb0323261855" providerId="ADAL" clId="{18618F49-CB4F-4F75-B698-CED18DF91205}" dt="2023-03-30T18:27:22.436" v="6841" actId="1076"/>
          <ac:spMkLst>
            <pc:docMk/>
            <pc:sldMk cId="1281915614" sldId="1535"/>
            <ac:spMk id="13" creationId="{B68DE289-F23A-7878-EFFE-997DBBA4E356}"/>
          </ac:spMkLst>
        </pc:spChg>
        <pc:spChg chg="mod">
          <ac:chgData name="Dominik Buchegger" userId="4419538d-6150-464b-ac11-eb0323261855" providerId="ADAL" clId="{18618F49-CB4F-4F75-B698-CED18DF91205}" dt="2023-03-30T18:27:38.064" v="6843" actId="1076"/>
          <ac:spMkLst>
            <pc:docMk/>
            <pc:sldMk cId="1281915614" sldId="1535"/>
            <ac:spMk id="14" creationId="{734780B2-F44B-63A7-00D9-686ACD7BE1C4}"/>
          </ac:spMkLst>
        </pc:spChg>
      </pc:sldChg>
      <pc:sldChg chg="modSp mod">
        <pc:chgData name="Dominik Buchegger" userId="4419538d-6150-464b-ac11-eb0323261855" providerId="ADAL" clId="{18618F49-CB4F-4F75-B698-CED18DF91205}" dt="2023-03-30T18:27:48.288" v="6845" actId="207"/>
        <pc:sldMkLst>
          <pc:docMk/>
          <pc:sldMk cId="1961197189" sldId="1536"/>
        </pc:sldMkLst>
        <pc:spChg chg="mod">
          <ac:chgData name="Dominik Buchegger" userId="4419538d-6150-464b-ac11-eb0323261855" providerId="ADAL" clId="{18618F49-CB4F-4F75-B698-CED18DF91205}" dt="2023-03-30T18:27:45.661" v="6844" actId="207"/>
          <ac:spMkLst>
            <pc:docMk/>
            <pc:sldMk cId="1961197189" sldId="1536"/>
            <ac:spMk id="3" creationId="{F036C38E-F14A-85CC-362E-9729B06BABDA}"/>
          </ac:spMkLst>
        </pc:spChg>
        <pc:spChg chg="mod">
          <ac:chgData name="Dominik Buchegger" userId="4419538d-6150-464b-ac11-eb0323261855" providerId="ADAL" clId="{18618F49-CB4F-4F75-B698-CED18DF91205}" dt="2023-03-30T18:27:48.288" v="6845" actId="207"/>
          <ac:spMkLst>
            <pc:docMk/>
            <pc:sldMk cId="1961197189" sldId="1536"/>
            <ac:spMk id="4" creationId="{B64A5F54-A6A0-8266-1C5D-4A7FA80439F2}"/>
          </ac:spMkLst>
        </pc:spChg>
      </pc:sldChg>
      <pc:sldChg chg="addSp modSp mod">
        <pc:chgData name="Dominik Buchegger" userId="4419538d-6150-464b-ac11-eb0323261855" providerId="ADAL" clId="{18618F49-CB4F-4F75-B698-CED18DF91205}" dt="2023-03-28T11:50:51.369" v="6312" actId="113"/>
        <pc:sldMkLst>
          <pc:docMk/>
          <pc:sldMk cId="3597719166" sldId="1538"/>
        </pc:sldMkLst>
        <pc:spChg chg="add mod">
          <ac:chgData name="Dominik Buchegger" userId="4419538d-6150-464b-ac11-eb0323261855" providerId="ADAL" clId="{18618F49-CB4F-4F75-B698-CED18DF91205}" dt="2023-03-28T11:07:21.689" v="5571" actId="207"/>
          <ac:spMkLst>
            <pc:docMk/>
            <pc:sldMk cId="3597719166" sldId="1538"/>
            <ac:spMk id="3" creationId="{4BC06BBD-CB5A-F475-C6DE-757F0E61AEA5}"/>
          </ac:spMkLst>
        </pc:spChg>
        <pc:spChg chg="add mod">
          <ac:chgData name="Dominik Buchegger" userId="4419538d-6150-464b-ac11-eb0323261855" providerId="ADAL" clId="{18618F49-CB4F-4F75-B698-CED18DF91205}" dt="2023-03-28T11:07:24.815" v="5572" actId="207"/>
          <ac:spMkLst>
            <pc:docMk/>
            <pc:sldMk cId="3597719166" sldId="1538"/>
            <ac:spMk id="4" creationId="{93CF8C79-5762-0572-A1EF-6BFC451448EE}"/>
          </ac:spMkLst>
        </pc:spChg>
        <pc:spChg chg="mod">
          <ac:chgData name="Dominik Buchegger" userId="4419538d-6150-464b-ac11-eb0323261855" providerId="ADAL" clId="{18618F49-CB4F-4F75-B698-CED18DF91205}" dt="2023-03-28T11:50:51.369" v="6312" actId="113"/>
          <ac:spMkLst>
            <pc:docMk/>
            <pc:sldMk cId="3597719166" sldId="1538"/>
            <ac:spMk id="15" creationId="{B7D5B10C-CDD1-D8B6-D19B-C2B8C53F618E}"/>
          </ac:spMkLst>
        </pc:spChg>
        <pc:picChg chg="mod">
          <ac:chgData name="Dominik Buchegger" userId="4419538d-6150-464b-ac11-eb0323261855" providerId="ADAL" clId="{18618F49-CB4F-4F75-B698-CED18DF91205}" dt="2023-03-28T11:06:51.958" v="5565" actId="1076"/>
          <ac:picMkLst>
            <pc:docMk/>
            <pc:sldMk cId="3597719166" sldId="1538"/>
            <ac:picMk id="17" creationId="{91F075FB-2D1B-5320-4EC7-F7596E976911}"/>
          </ac:picMkLst>
        </pc:picChg>
      </pc:sldChg>
      <pc:sldChg chg="addSp delSp modSp mod">
        <pc:chgData name="Dominik Buchegger" userId="4419538d-6150-464b-ac11-eb0323261855" providerId="ADAL" clId="{18618F49-CB4F-4F75-B698-CED18DF91205}" dt="2023-03-28T11:52:07.576" v="6402" actId="14100"/>
        <pc:sldMkLst>
          <pc:docMk/>
          <pc:sldMk cId="3806684549" sldId="1539"/>
        </pc:sldMkLst>
        <pc:spChg chg="mod">
          <ac:chgData name="Dominik Buchegger" userId="4419538d-6150-464b-ac11-eb0323261855" providerId="ADAL" clId="{18618F49-CB4F-4F75-B698-CED18DF91205}" dt="2023-03-28T11:41:59.677" v="6128" actId="20577"/>
          <ac:spMkLst>
            <pc:docMk/>
            <pc:sldMk cId="3806684549" sldId="1539"/>
            <ac:spMk id="2" creationId="{D00D008C-7E34-0616-BFF0-6888EA69FFB1}"/>
          </ac:spMkLst>
        </pc:spChg>
        <pc:spChg chg="mod">
          <ac:chgData name="Dominik Buchegger" userId="4419538d-6150-464b-ac11-eb0323261855" providerId="ADAL" clId="{18618F49-CB4F-4F75-B698-CED18DF91205}" dt="2023-03-28T11:51:50.312" v="6397" actId="20577"/>
          <ac:spMkLst>
            <pc:docMk/>
            <pc:sldMk cId="3806684549" sldId="1539"/>
            <ac:spMk id="3" creationId="{5E96A1BB-DBDB-1013-8DE9-1EA3FC07B5F4}"/>
          </ac:spMkLst>
        </pc:spChg>
        <pc:spChg chg="add del mod">
          <ac:chgData name="Dominik Buchegger" userId="4419538d-6150-464b-ac11-eb0323261855" providerId="ADAL" clId="{18618F49-CB4F-4F75-B698-CED18DF91205}" dt="2023-03-28T11:40:27.573" v="6073" actId="478"/>
          <ac:spMkLst>
            <pc:docMk/>
            <pc:sldMk cId="3806684549" sldId="1539"/>
            <ac:spMk id="5" creationId="{032E3173-6F96-EA3F-2038-8DE4B4C1C1F8}"/>
          </ac:spMkLst>
        </pc:spChg>
        <pc:spChg chg="add mod">
          <ac:chgData name="Dominik Buchegger" userId="4419538d-6150-464b-ac11-eb0323261855" providerId="ADAL" clId="{18618F49-CB4F-4F75-B698-CED18DF91205}" dt="2023-03-28T11:45:16.325" v="6201" actId="20577"/>
          <ac:spMkLst>
            <pc:docMk/>
            <pc:sldMk cId="3806684549" sldId="1539"/>
            <ac:spMk id="6" creationId="{D832E8F5-2658-A9E0-EE1A-8B7677D004D9}"/>
          </ac:spMkLst>
        </pc:spChg>
        <pc:picChg chg="add mod">
          <ac:chgData name="Dominik Buchegger" userId="4419538d-6150-464b-ac11-eb0323261855" providerId="ADAL" clId="{18618F49-CB4F-4F75-B698-CED18DF91205}" dt="2023-03-28T11:49:59.726" v="6261" actId="1076"/>
          <ac:picMkLst>
            <pc:docMk/>
            <pc:sldMk cId="3806684549" sldId="1539"/>
            <ac:picMk id="7" creationId="{0AD15EE7-A3E4-1B81-0CF5-12AC0B13E77B}"/>
          </ac:picMkLst>
        </pc:picChg>
        <pc:picChg chg="del mod modCrop">
          <ac:chgData name="Dominik Buchegger" userId="4419538d-6150-464b-ac11-eb0323261855" providerId="ADAL" clId="{18618F49-CB4F-4F75-B698-CED18DF91205}" dt="2023-03-28T11:49:31.835" v="6213" actId="478"/>
          <ac:picMkLst>
            <pc:docMk/>
            <pc:sldMk cId="3806684549" sldId="1539"/>
            <ac:picMk id="10" creationId="{60D7B0F1-77F9-4BF7-E599-D62DB2ADBA1E}"/>
          </ac:picMkLst>
        </pc:picChg>
        <pc:picChg chg="add del mod modCrop">
          <ac:chgData name="Dominik Buchegger" userId="4419538d-6150-464b-ac11-eb0323261855" providerId="ADAL" clId="{18618F49-CB4F-4F75-B698-CED18DF91205}" dt="2023-03-28T11:52:07.576" v="6402" actId="14100"/>
          <ac:picMkLst>
            <pc:docMk/>
            <pc:sldMk cId="3806684549" sldId="1539"/>
            <ac:picMk id="11" creationId="{402B0323-90AC-B6FD-24BC-A2D9CAE5EE1C}"/>
          </ac:picMkLst>
        </pc:picChg>
        <pc:picChg chg="del mod">
          <ac:chgData name="Dominik Buchegger" userId="4419538d-6150-464b-ac11-eb0323261855" providerId="ADAL" clId="{18618F49-CB4F-4F75-B698-CED18DF91205}" dt="2023-03-28T11:43:21.757" v="6136" actId="478"/>
          <ac:picMkLst>
            <pc:docMk/>
            <pc:sldMk cId="3806684549" sldId="1539"/>
            <ac:picMk id="12" creationId="{94000EA5-0D4C-7365-06AA-EA441E0EA460}"/>
          </ac:picMkLst>
        </pc:picChg>
      </pc:sldChg>
      <pc:sldChg chg="ord">
        <pc:chgData name="Dominik Buchegger" userId="4419538d-6150-464b-ac11-eb0323261855" providerId="ADAL" clId="{18618F49-CB4F-4F75-B698-CED18DF91205}" dt="2023-03-28T11:11:04.523" v="5742"/>
        <pc:sldMkLst>
          <pc:docMk/>
          <pc:sldMk cId="2369170133" sldId="1540"/>
        </pc:sldMkLst>
      </pc:sldChg>
      <pc:sldChg chg="ord">
        <pc:chgData name="Dominik Buchegger" userId="4419538d-6150-464b-ac11-eb0323261855" providerId="ADAL" clId="{18618F49-CB4F-4F75-B698-CED18DF91205}" dt="2023-03-28T11:11:04.523" v="5742"/>
        <pc:sldMkLst>
          <pc:docMk/>
          <pc:sldMk cId="1621850967" sldId="1541"/>
        </pc:sldMkLst>
      </pc:sldChg>
      <pc:sldChg chg="ord">
        <pc:chgData name="Dominik Buchegger" userId="4419538d-6150-464b-ac11-eb0323261855" providerId="ADAL" clId="{18618F49-CB4F-4F75-B698-CED18DF91205}" dt="2023-03-28T11:11:04.523" v="5742"/>
        <pc:sldMkLst>
          <pc:docMk/>
          <pc:sldMk cId="2438703611" sldId="1542"/>
        </pc:sldMkLst>
      </pc:sldChg>
      <pc:sldChg chg="ord">
        <pc:chgData name="Dominik Buchegger" userId="4419538d-6150-464b-ac11-eb0323261855" providerId="ADAL" clId="{18618F49-CB4F-4F75-B698-CED18DF91205}" dt="2023-03-28T11:11:04.523" v="5742"/>
        <pc:sldMkLst>
          <pc:docMk/>
          <pc:sldMk cId="419329577" sldId="1543"/>
        </pc:sldMkLst>
      </pc:sldChg>
      <pc:sldChg chg="ord">
        <pc:chgData name="Dominik Buchegger" userId="4419538d-6150-464b-ac11-eb0323261855" providerId="ADAL" clId="{18618F49-CB4F-4F75-B698-CED18DF91205}" dt="2023-03-28T11:11:04.523" v="5742"/>
        <pc:sldMkLst>
          <pc:docMk/>
          <pc:sldMk cId="4222879851" sldId="1544"/>
        </pc:sldMkLst>
      </pc:sldChg>
      <pc:sldChg chg="ord">
        <pc:chgData name="Dominik Buchegger" userId="4419538d-6150-464b-ac11-eb0323261855" providerId="ADAL" clId="{18618F49-CB4F-4F75-B698-CED18DF91205}" dt="2023-03-28T11:11:55.719" v="5755"/>
        <pc:sldMkLst>
          <pc:docMk/>
          <pc:sldMk cId="2768367976" sldId="1545"/>
        </pc:sldMkLst>
      </pc:sldChg>
      <pc:sldChg chg="ord">
        <pc:chgData name="Dominik Buchegger" userId="4419538d-6150-464b-ac11-eb0323261855" providerId="ADAL" clId="{18618F49-CB4F-4F75-B698-CED18DF91205}" dt="2023-03-28T11:11:55.719" v="5755"/>
        <pc:sldMkLst>
          <pc:docMk/>
          <pc:sldMk cId="1740970090" sldId="1546"/>
        </pc:sldMkLst>
      </pc:sldChg>
      <pc:sldChg chg="addSp modSp mod">
        <pc:chgData name="Dominik Buchegger" userId="4419538d-6150-464b-ac11-eb0323261855" providerId="ADAL" clId="{18618F49-CB4F-4F75-B698-CED18DF91205}" dt="2023-03-28T11:12:47.112" v="5796" actId="20577"/>
        <pc:sldMkLst>
          <pc:docMk/>
          <pc:sldMk cId="1736325031" sldId="1547"/>
        </pc:sldMkLst>
        <pc:spChg chg="mod">
          <ac:chgData name="Dominik Buchegger" userId="4419538d-6150-464b-ac11-eb0323261855" providerId="ADAL" clId="{18618F49-CB4F-4F75-B698-CED18DF91205}" dt="2023-03-28T11:12:47.112" v="5796" actId="20577"/>
          <ac:spMkLst>
            <pc:docMk/>
            <pc:sldMk cId="1736325031" sldId="1547"/>
            <ac:spMk id="2" creationId="{A8994F40-D352-A095-BEEF-56879E3E8A0D}"/>
          </ac:spMkLst>
        </pc:spChg>
        <pc:spChg chg="add mod">
          <ac:chgData name="Dominik Buchegger" userId="4419538d-6150-464b-ac11-eb0323261855" providerId="ADAL" clId="{18618F49-CB4F-4F75-B698-CED18DF91205}" dt="2023-03-28T11:12:33.932" v="5793" actId="20577"/>
          <ac:spMkLst>
            <pc:docMk/>
            <pc:sldMk cId="1736325031" sldId="1547"/>
            <ac:spMk id="3" creationId="{3E61F4FF-51CE-2407-FB7A-CC92AE2054C0}"/>
          </ac:spMkLst>
        </pc:spChg>
        <pc:picChg chg="mod">
          <ac:chgData name="Dominik Buchegger" userId="4419538d-6150-464b-ac11-eb0323261855" providerId="ADAL" clId="{18618F49-CB4F-4F75-B698-CED18DF91205}" dt="2023-03-28T11:12:24.082" v="5759" actId="1076"/>
          <ac:picMkLst>
            <pc:docMk/>
            <pc:sldMk cId="1736325031" sldId="1547"/>
            <ac:picMk id="8" creationId="{281C2A29-FF55-8736-293E-2D7BD08FD0FC}"/>
          </ac:picMkLst>
        </pc:picChg>
        <pc:picChg chg="mod">
          <ac:chgData name="Dominik Buchegger" userId="4419538d-6150-464b-ac11-eb0323261855" providerId="ADAL" clId="{18618F49-CB4F-4F75-B698-CED18DF91205}" dt="2023-03-28T11:12:24.082" v="5759" actId="1076"/>
          <ac:picMkLst>
            <pc:docMk/>
            <pc:sldMk cId="1736325031" sldId="1547"/>
            <ac:picMk id="9" creationId="{D676D914-561F-3A0C-D0B6-4C0F6560113B}"/>
          </ac:picMkLst>
        </pc:picChg>
      </pc:sldChg>
      <pc:sldChg chg="addSp delSp modSp mod ord modClrScheme chgLayout">
        <pc:chgData name="Dominik Buchegger" userId="4419538d-6150-464b-ac11-eb0323261855" providerId="ADAL" clId="{18618F49-CB4F-4F75-B698-CED18DF91205}" dt="2023-03-28T12:00:05.147" v="6826" actId="20577"/>
        <pc:sldMkLst>
          <pc:docMk/>
          <pc:sldMk cId="43038557" sldId="1548"/>
        </pc:sldMkLst>
        <pc:spChg chg="mod ord">
          <ac:chgData name="Dominik Buchegger" userId="4419538d-6150-464b-ac11-eb0323261855" providerId="ADAL" clId="{18618F49-CB4F-4F75-B698-CED18DF91205}" dt="2023-03-28T11:58:55.788" v="6755" actId="700"/>
          <ac:spMkLst>
            <pc:docMk/>
            <pc:sldMk cId="43038557" sldId="1548"/>
            <ac:spMk id="2" creationId="{DAB29818-253D-0C1B-2F3E-7067FD097F6B}"/>
          </ac:spMkLst>
        </pc:spChg>
        <pc:spChg chg="mod ord">
          <ac:chgData name="Dominik Buchegger" userId="4419538d-6150-464b-ac11-eb0323261855" providerId="ADAL" clId="{18618F49-CB4F-4F75-B698-CED18DF91205}" dt="2023-03-28T11:59:35.671" v="6816" actId="20577"/>
          <ac:spMkLst>
            <pc:docMk/>
            <pc:sldMk cId="43038557" sldId="1548"/>
            <ac:spMk id="3" creationId="{2845DB01-7CF9-79BD-6E31-2CE002967313}"/>
          </ac:spMkLst>
        </pc:spChg>
        <pc:spChg chg="mod ord">
          <ac:chgData name="Dominik Buchegger" userId="4419538d-6150-464b-ac11-eb0323261855" providerId="ADAL" clId="{18618F49-CB4F-4F75-B698-CED18DF91205}" dt="2023-03-28T11:58:55.788" v="6755" actId="700"/>
          <ac:spMkLst>
            <pc:docMk/>
            <pc:sldMk cId="43038557" sldId="1548"/>
            <ac:spMk id="4" creationId="{13C2F9D8-C539-1D0B-4044-6162647904A3}"/>
          </ac:spMkLst>
        </pc:spChg>
        <pc:spChg chg="del mod ord">
          <ac:chgData name="Dominik Buchegger" userId="4419538d-6150-464b-ac11-eb0323261855" providerId="ADAL" clId="{18618F49-CB4F-4F75-B698-CED18DF91205}" dt="2023-03-28T11:58:55.788" v="6755" actId="700"/>
          <ac:spMkLst>
            <pc:docMk/>
            <pc:sldMk cId="43038557" sldId="1548"/>
            <ac:spMk id="5" creationId="{2D312F58-6A34-F6B1-46C0-3AE8C26FA9FF}"/>
          </ac:spMkLst>
        </pc:spChg>
        <pc:spChg chg="mod ord">
          <ac:chgData name="Dominik Buchegger" userId="4419538d-6150-464b-ac11-eb0323261855" providerId="ADAL" clId="{18618F49-CB4F-4F75-B698-CED18DF91205}" dt="2023-03-28T12:00:05.147" v="6826" actId="20577"/>
          <ac:spMkLst>
            <pc:docMk/>
            <pc:sldMk cId="43038557" sldId="1548"/>
            <ac:spMk id="6" creationId="{3464ADAA-F2EE-DF16-E280-DFC913069835}"/>
          </ac:spMkLst>
        </pc:spChg>
        <pc:spChg chg="del mod ord">
          <ac:chgData name="Dominik Buchegger" userId="4419538d-6150-464b-ac11-eb0323261855" providerId="ADAL" clId="{18618F49-CB4F-4F75-B698-CED18DF91205}" dt="2023-03-28T11:58:55.788" v="6755" actId="700"/>
          <ac:spMkLst>
            <pc:docMk/>
            <pc:sldMk cId="43038557" sldId="1548"/>
            <ac:spMk id="7" creationId="{0F55B55A-0F65-C71D-407F-85566AB6481C}"/>
          </ac:spMkLst>
        </pc:spChg>
        <pc:spChg chg="add del mod">
          <ac:chgData name="Dominik Buchegger" userId="4419538d-6150-464b-ac11-eb0323261855" providerId="ADAL" clId="{18618F49-CB4F-4F75-B698-CED18DF91205}" dt="2023-03-28T11:28:33.980" v="5802" actId="478"/>
          <ac:spMkLst>
            <pc:docMk/>
            <pc:sldMk cId="43038557" sldId="1548"/>
            <ac:spMk id="8" creationId="{C1F54EEE-DBB1-69AE-902E-F65ECD14D9C2}"/>
          </ac:spMkLst>
        </pc:spChg>
        <pc:spChg chg="add mod">
          <ac:chgData name="Dominik Buchegger" userId="4419538d-6150-464b-ac11-eb0323261855" providerId="ADAL" clId="{18618F49-CB4F-4F75-B698-CED18DF91205}" dt="2023-03-28T11:46:17.226" v="6206" actId="20577"/>
          <ac:spMkLst>
            <pc:docMk/>
            <pc:sldMk cId="43038557" sldId="1548"/>
            <ac:spMk id="9" creationId="{8B957C1A-FD05-D04F-DC63-E4D29A3D90E1}"/>
          </ac:spMkLst>
        </pc:spChg>
        <pc:spChg chg="add mod ord">
          <ac:chgData name="Dominik Buchegger" userId="4419538d-6150-464b-ac11-eb0323261855" providerId="ADAL" clId="{18618F49-CB4F-4F75-B698-CED18DF91205}" dt="2023-03-28T11:58:55.788" v="6755" actId="700"/>
          <ac:spMkLst>
            <pc:docMk/>
            <pc:sldMk cId="43038557" sldId="1548"/>
            <ac:spMk id="10" creationId="{882C921A-638F-4E28-2E03-6D9389298F03}"/>
          </ac:spMkLst>
        </pc:spChg>
        <pc:spChg chg="add mod ord">
          <ac:chgData name="Dominik Buchegger" userId="4419538d-6150-464b-ac11-eb0323261855" providerId="ADAL" clId="{18618F49-CB4F-4F75-B698-CED18DF91205}" dt="2023-03-28T11:58:55.788" v="6755" actId="700"/>
          <ac:spMkLst>
            <pc:docMk/>
            <pc:sldMk cId="43038557" sldId="1548"/>
            <ac:spMk id="11" creationId="{E154BC9A-C9EA-A559-0E15-0B3261B1F29C}"/>
          </ac:spMkLst>
        </pc:spChg>
        <pc:spChg chg="add mod ord">
          <ac:chgData name="Dominik Buchegger" userId="4419538d-6150-464b-ac11-eb0323261855" providerId="ADAL" clId="{18618F49-CB4F-4F75-B698-CED18DF91205}" dt="2023-03-28T11:58:55.788" v="6755" actId="700"/>
          <ac:spMkLst>
            <pc:docMk/>
            <pc:sldMk cId="43038557" sldId="1548"/>
            <ac:spMk id="12" creationId="{05207C25-0F6D-7585-5F00-BDF7DA1EC869}"/>
          </ac:spMkLst>
        </pc:spChg>
        <pc:spChg chg="mod">
          <ac:chgData name="Dominik Buchegger" userId="4419538d-6150-464b-ac11-eb0323261855" providerId="ADAL" clId="{18618F49-CB4F-4F75-B698-CED18DF91205}" dt="2023-03-28T11:59:59.187" v="6825" actId="1038"/>
          <ac:spMkLst>
            <pc:docMk/>
            <pc:sldMk cId="43038557" sldId="1548"/>
            <ac:spMk id="17" creationId="{A893CBC4-50F3-B346-26CB-2C8FEEFF5036}"/>
          </ac:spMkLst>
        </pc:spChg>
        <pc:picChg chg="mod">
          <ac:chgData name="Dominik Buchegger" userId="4419538d-6150-464b-ac11-eb0323261855" providerId="ADAL" clId="{18618F49-CB4F-4F75-B698-CED18DF91205}" dt="2023-03-28T11:59:51.352" v="6821" actId="1076"/>
          <ac:picMkLst>
            <pc:docMk/>
            <pc:sldMk cId="43038557" sldId="1548"/>
            <ac:picMk id="16" creationId="{B54F604A-E857-1FBC-D4CC-20846F52C6CE}"/>
          </ac:picMkLst>
        </pc:picChg>
      </pc:sldChg>
      <pc:sldChg chg="modSp mod ord">
        <pc:chgData name="Dominik Buchegger" userId="4419538d-6150-464b-ac11-eb0323261855" providerId="ADAL" clId="{18618F49-CB4F-4F75-B698-CED18DF91205}" dt="2023-03-28T11:54:34.611" v="6450" actId="20577"/>
        <pc:sldMkLst>
          <pc:docMk/>
          <pc:sldMk cId="2745610101" sldId="1549"/>
        </pc:sldMkLst>
        <pc:spChg chg="mod">
          <ac:chgData name="Dominik Buchegger" userId="4419538d-6150-464b-ac11-eb0323261855" providerId="ADAL" clId="{18618F49-CB4F-4F75-B698-CED18DF91205}" dt="2023-03-28T11:54:34.611" v="6450" actId="20577"/>
          <ac:spMkLst>
            <pc:docMk/>
            <pc:sldMk cId="2745610101" sldId="1549"/>
            <ac:spMk id="2" creationId="{0370EC72-6DDE-8140-E17E-176976813CB3}"/>
          </ac:spMkLst>
        </pc:spChg>
      </pc:sldChg>
      <pc:sldChg chg="ord">
        <pc:chgData name="Dominik Buchegger" userId="4419538d-6150-464b-ac11-eb0323261855" providerId="ADAL" clId="{18618F49-CB4F-4F75-B698-CED18DF91205}" dt="2023-03-28T11:30:54.944" v="5948"/>
        <pc:sldMkLst>
          <pc:docMk/>
          <pc:sldMk cId="3563998885" sldId="1550"/>
        </pc:sldMkLst>
      </pc:sldChg>
      <pc:sldChg chg="addSp delSp modSp mod ord modClrScheme chgLayout">
        <pc:chgData name="Dominik Buchegger" userId="4419538d-6150-464b-ac11-eb0323261855" providerId="ADAL" clId="{18618F49-CB4F-4F75-B698-CED18DF91205}" dt="2023-03-28T11:50:41.362" v="6310" actId="113"/>
        <pc:sldMkLst>
          <pc:docMk/>
          <pc:sldMk cId="3555160724" sldId="1551"/>
        </pc:sldMkLst>
        <pc:spChg chg="mod ord">
          <ac:chgData name="Dominik Buchegger" userId="4419538d-6150-464b-ac11-eb0323261855" providerId="ADAL" clId="{18618F49-CB4F-4F75-B698-CED18DF91205}" dt="2023-03-28T11:38:26.851" v="6020" actId="700"/>
          <ac:spMkLst>
            <pc:docMk/>
            <pc:sldMk cId="3555160724" sldId="1551"/>
            <ac:spMk id="2" creationId="{73CA2C2F-1575-93F0-2DFE-10F8702441CD}"/>
          </ac:spMkLst>
        </pc:spChg>
        <pc:spChg chg="mod ord">
          <ac:chgData name="Dominik Buchegger" userId="4419538d-6150-464b-ac11-eb0323261855" providerId="ADAL" clId="{18618F49-CB4F-4F75-B698-CED18DF91205}" dt="2023-03-28T11:39:23.070" v="6036" actId="20577"/>
          <ac:spMkLst>
            <pc:docMk/>
            <pc:sldMk cId="3555160724" sldId="1551"/>
            <ac:spMk id="3" creationId="{141EED7B-2D67-5F9F-6491-FED2AFA2F529}"/>
          </ac:spMkLst>
        </pc:spChg>
        <pc:spChg chg="mod ord">
          <ac:chgData name="Dominik Buchegger" userId="4419538d-6150-464b-ac11-eb0323261855" providerId="ADAL" clId="{18618F49-CB4F-4F75-B698-CED18DF91205}" dt="2023-03-28T11:38:26.851" v="6020" actId="700"/>
          <ac:spMkLst>
            <pc:docMk/>
            <pc:sldMk cId="3555160724" sldId="1551"/>
            <ac:spMk id="4" creationId="{B9ADA6DF-7210-51C0-FF3B-4ADB643A42C6}"/>
          </ac:spMkLst>
        </pc:spChg>
        <pc:spChg chg="add del mod ord">
          <ac:chgData name="Dominik Buchegger" userId="4419538d-6150-464b-ac11-eb0323261855" providerId="ADAL" clId="{18618F49-CB4F-4F75-B698-CED18DF91205}" dt="2023-03-28T11:38:26.851" v="6020" actId="700"/>
          <ac:spMkLst>
            <pc:docMk/>
            <pc:sldMk cId="3555160724" sldId="1551"/>
            <ac:spMk id="5" creationId="{87B1E26A-B234-EDB0-DB8A-A8A2173921EA}"/>
          </ac:spMkLst>
        </pc:spChg>
        <pc:spChg chg="mod ord">
          <ac:chgData name="Dominik Buchegger" userId="4419538d-6150-464b-ac11-eb0323261855" providerId="ADAL" clId="{18618F49-CB4F-4F75-B698-CED18DF91205}" dt="2023-03-28T11:50:41.362" v="6310" actId="113"/>
          <ac:spMkLst>
            <pc:docMk/>
            <pc:sldMk cId="3555160724" sldId="1551"/>
            <ac:spMk id="6" creationId="{35886D4F-12B8-96BE-5A36-E5E07939805E}"/>
          </ac:spMkLst>
        </pc:spChg>
        <pc:spChg chg="add del mod ord">
          <ac:chgData name="Dominik Buchegger" userId="4419538d-6150-464b-ac11-eb0323261855" providerId="ADAL" clId="{18618F49-CB4F-4F75-B698-CED18DF91205}" dt="2023-03-28T11:38:26.851" v="6020" actId="700"/>
          <ac:spMkLst>
            <pc:docMk/>
            <pc:sldMk cId="3555160724" sldId="1551"/>
            <ac:spMk id="7" creationId="{7CA68673-9324-737B-BFA5-08CE34C8D062}"/>
          </ac:spMkLst>
        </pc:spChg>
        <pc:spChg chg="add mod">
          <ac:chgData name="Dominik Buchegger" userId="4419538d-6150-464b-ac11-eb0323261855" providerId="ADAL" clId="{18618F49-CB4F-4F75-B698-CED18DF91205}" dt="2023-03-28T11:45:09.308" v="6198" actId="20577"/>
          <ac:spMkLst>
            <pc:docMk/>
            <pc:sldMk cId="3555160724" sldId="1551"/>
            <ac:spMk id="8" creationId="{C968FC5A-BD61-5E29-E7BE-40F3FC2BB939}"/>
          </ac:spMkLst>
        </pc:spChg>
        <pc:spChg chg="add mod ord">
          <ac:chgData name="Dominik Buchegger" userId="4419538d-6150-464b-ac11-eb0323261855" providerId="ADAL" clId="{18618F49-CB4F-4F75-B698-CED18DF91205}" dt="2023-03-28T11:38:26.851" v="6020" actId="700"/>
          <ac:spMkLst>
            <pc:docMk/>
            <pc:sldMk cId="3555160724" sldId="1551"/>
            <ac:spMk id="12" creationId="{55086051-1BED-0483-A237-60656377CF11}"/>
          </ac:spMkLst>
        </pc:spChg>
        <pc:spChg chg="add mod ord">
          <ac:chgData name="Dominik Buchegger" userId="4419538d-6150-464b-ac11-eb0323261855" providerId="ADAL" clId="{18618F49-CB4F-4F75-B698-CED18DF91205}" dt="2023-03-28T11:38:26.851" v="6020" actId="700"/>
          <ac:spMkLst>
            <pc:docMk/>
            <pc:sldMk cId="3555160724" sldId="1551"/>
            <ac:spMk id="13" creationId="{6B24398B-38E7-25F2-004F-E7452A108AF8}"/>
          </ac:spMkLst>
        </pc:spChg>
        <pc:spChg chg="add mod ord">
          <ac:chgData name="Dominik Buchegger" userId="4419538d-6150-464b-ac11-eb0323261855" providerId="ADAL" clId="{18618F49-CB4F-4F75-B698-CED18DF91205}" dt="2023-03-28T11:38:26.851" v="6020" actId="700"/>
          <ac:spMkLst>
            <pc:docMk/>
            <pc:sldMk cId="3555160724" sldId="1551"/>
            <ac:spMk id="14" creationId="{7FEBFFAE-2545-56D2-4F93-B0BD8CD8FB74}"/>
          </ac:spMkLst>
        </pc:spChg>
        <pc:picChg chg="add del mod">
          <ac:chgData name="Dominik Buchegger" userId="4419538d-6150-464b-ac11-eb0323261855" providerId="ADAL" clId="{18618F49-CB4F-4F75-B698-CED18DF91205}" dt="2023-03-28T11:37:55.235" v="6008"/>
          <ac:picMkLst>
            <pc:docMk/>
            <pc:sldMk cId="3555160724" sldId="1551"/>
            <ac:picMk id="10" creationId="{184E8C3E-6431-DCBB-FA13-8B16973CABDC}"/>
          </ac:picMkLst>
        </pc:picChg>
        <pc:picChg chg="add mod">
          <ac:chgData name="Dominik Buchegger" userId="4419538d-6150-464b-ac11-eb0323261855" providerId="ADAL" clId="{18618F49-CB4F-4F75-B698-CED18DF91205}" dt="2023-03-28T11:38:30.727" v="6021" actId="1076"/>
          <ac:picMkLst>
            <pc:docMk/>
            <pc:sldMk cId="3555160724" sldId="1551"/>
            <ac:picMk id="11" creationId="{F477F1C2-1D65-1461-B7FF-D6A68440DF69}"/>
          </ac:picMkLst>
        </pc:picChg>
      </pc:sldChg>
      <pc:sldChg chg="del">
        <pc:chgData name="Dominik Buchegger" userId="4419538d-6150-464b-ac11-eb0323261855" providerId="ADAL" clId="{18618F49-CB4F-4F75-B698-CED18DF91205}" dt="2023-03-28T10:56:46.057" v="5154" actId="47"/>
        <pc:sldMkLst>
          <pc:docMk/>
          <pc:sldMk cId="1138554923" sldId="1553"/>
        </pc:sldMkLst>
      </pc:sldChg>
      <pc:sldChg chg="modSp mod">
        <pc:chgData name="Dominik Buchegger" userId="4419538d-6150-464b-ac11-eb0323261855" providerId="ADAL" clId="{18618F49-CB4F-4F75-B698-CED18DF91205}" dt="2023-03-28T09:29:30.412" v="1" actId="732"/>
        <pc:sldMkLst>
          <pc:docMk/>
          <pc:sldMk cId="3200463830" sldId="1554"/>
        </pc:sldMkLst>
        <pc:picChg chg="mod modCrop">
          <ac:chgData name="Dominik Buchegger" userId="4419538d-6150-464b-ac11-eb0323261855" providerId="ADAL" clId="{18618F49-CB4F-4F75-B698-CED18DF91205}" dt="2023-03-28T09:29:30.412" v="1" actId="732"/>
          <ac:picMkLst>
            <pc:docMk/>
            <pc:sldMk cId="3200463830" sldId="1554"/>
            <ac:picMk id="28" creationId="{707AA842-5CB1-0231-D474-31B7482CFB19}"/>
          </ac:picMkLst>
        </pc:picChg>
      </pc:sldChg>
      <pc:sldChg chg="modSp mod">
        <pc:chgData name="Dominik Buchegger" userId="4419538d-6150-464b-ac11-eb0323261855" providerId="ADAL" clId="{18618F49-CB4F-4F75-B698-CED18DF91205}" dt="2023-03-30T18:36:43.737" v="6875" actId="20577"/>
        <pc:sldMkLst>
          <pc:docMk/>
          <pc:sldMk cId="1010709420" sldId="1556"/>
        </pc:sldMkLst>
        <pc:spChg chg="mod">
          <ac:chgData name="Dominik Buchegger" userId="4419538d-6150-464b-ac11-eb0323261855" providerId="ADAL" clId="{18618F49-CB4F-4F75-B698-CED18DF91205}" dt="2023-03-30T18:36:43.737" v="6875" actId="20577"/>
          <ac:spMkLst>
            <pc:docMk/>
            <pc:sldMk cId="1010709420" sldId="1556"/>
            <ac:spMk id="6" creationId="{347AE98E-C40A-2C4A-C51C-ED0F6062C144}"/>
          </ac:spMkLst>
        </pc:spChg>
        <pc:spChg chg="mod">
          <ac:chgData name="Dominik Buchegger" userId="4419538d-6150-464b-ac11-eb0323261855" providerId="ADAL" clId="{18618F49-CB4F-4F75-B698-CED18DF91205}" dt="2023-03-28T11:05:54.038" v="5512" actId="1076"/>
          <ac:spMkLst>
            <pc:docMk/>
            <pc:sldMk cId="1010709420" sldId="1556"/>
            <ac:spMk id="10" creationId="{628828DB-531D-F991-C229-A549761D9E5B}"/>
          </ac:spMkLst>
        </pc:spChg>
        <pc:spChg chg="mod">
          <ac:chgData name="Dominik Buchegger" userId="4419538d-6150-464b-ac11-eb0323261855" providerId="ADAL" clId="{18618F49-CB4F-4F75-B698-CED18DF91205}" dt="2023-03-28T11:05:50.137" v="5511" actId="1076"/>
          <ac:spMkLst>
            <pc:docMk/>
            <pc:sldMk cId="1010709420" sldId="1556"/>
            <ac:spMk id="15" creationId="{2D14ECEC-FB7A-634A-9DA9-D84202DABF4C}"/>
          </ac:spMkLst>
        </pc:spChg>
      </pc:sldChg>
      <pc:sldChg chg="addSp delSp modSp new mod">
        <pc:chgData name="Dominik Buchegger" userId="4419538d-6150-464b-ac11-eb0323261855" providerId="ADAL" clId="{18618F49-CB4F-4F75-B698-CED18DF91205}" dt="2023-03-30T18:32:12.405" v="6859" actId="207"/>
        <pc:sldMkLst>
          <pc:docMk/>
          <pc:sldMk cId="1539011393" sldId="1557"/>
        </pc:sldMkLst>
        <pc:spChg chg="mod">
          <ac:chgData name="Dominik Buchegger" userId="4419538d-6150-464b-ac11-eb0323261855" providerId="ADAL" clId="{18618F49-CB4F-4F75-B698-CED18DF91205}" dt="2023-03-28T10:07:20.491" v="1337" actId="20577"/>
          <ac:spMkLst>
            <pc:docMk/>
            <pc:sldMk cId="1539011393" sldId="1557"/>
            <ac:spMk id="2" creationId="{7663276F-645E-0245-FD41-5261B3D5F600}"/>
          </ac:spMkLst>
        </pc:spChg>
        <pc:spChg chg="add del mod">
          <ac:chgData name="Dominik Buchegger" userId="4419538d-6150-464b-ac11-eb0323261855" providerId="ADAL" clId="{18618F49-CB4F-4F75-B698-CED18DF91205}" dt="2023-03-30T18:31:58.114" v="6855" actId="207"/>
          <ac:spMkLst>
            <pc:docMk/>
            <pc:sldMk cId="1539011393" sldId="1557"/>
            <ac:spMk id="3" creationId="{3BE6757C-FC4D-A73C-1685-40DF86B9FC9A}"/>
          </ac:spMkLst>
        </pc:spChg>
        <pc:spChg chg="mod">
          <ac:chgData name="Dominik Buchegger" userId="4419538d-6150-464b-ac11-eb0323261855" providerId="ADAL" clId="{18618F49-CB4F-4F75-B698-CED18DF91205}" dt="2023-03-30T18:32:12.405" v="6859" actId="207"/>
          <ac:spMkLst>
            <pc:docMk/>
            <pc:sldMk cId="1539011393" sldId="1557"/>
            <ac:spMk id="4" creationId="{39A97831-4FD2-5A3B-7C54-4C13FD29548E}"/>
          </ac:spMkLst>
        </pc:spChg>
        <pc:spChg chg="mod">
          <ac:chgData name="Dominik Buchegger" userId="4419538d-6150-464b-ac11-eb0323261855" providerId="ADAL" clId="{18618F49-CB4F-4F75-B698-CED18DF91205}" dt="2023-03-28T09:53:31.266" v="809" actId="20577"/>
          <ac:spMkLst>
            <pc:docMk/>
            <pc:sldMk cId="1539011393" sldId="1557"/>
            <ac:spMk id="7" creationId="{29E70361-E8E8-4B53-4EE9-F792398B9C08}"/>
          </ac:spMkLst>
        </pc:spChg>
        <pc:spChg chg="mod">
          <ac:chgData name="Dominik Buchegger" userId="4419538d-6150-464b-ac11-eb0323261855" providerId="ADAL" clId="{18618F49-CB4F-4F75-B698-CED18DF91205}" dt="2023-03-28T09:57:54.285" v="879" actId="20577"/>
          <ac:spMkLst>
            <pc:docMk/>
            <pc:sldMk cId="1539011393" sldId="1557"/>
            <ac:spMk id="8" creationId="{ABE45AE2-EBB1-C34C-E55F-085C8C13294D}"/>
          </ac:spMkLst>
        </pc:spChg>
        <pc:spChg chg="add del mod">
          <ac:chgData name="Dominik Buchegger" userId="4419538d-6150-464b-ac11-eb0323261855" providerId="ADAL" clId="{18618F49-CB4F-4F75-B698-CED18DF91205}" dt="2023-03-28T09:38:42.510" v="60"/>
          <ac:spMkLst>
            <pc:docMk/>
            <pc:sldMk cId="1539011393" sldId="1557"/>
            <ac:spMk id="9" creationId="{91A64E2A-AC6A-206E-1090-A66C5A472AED}"/>
          </ac:spMkLst>
        </pc:spChg>
        <pc:spChg chg="add del">
          <ac:chgData name="Dominik Buchegger" userId="4419538d-6150-464b-ac11-eb0323261855" providerId="ADAL" clId="{18618F49-CB4F-4F75-B698-CED18DF91205}" dt="2023-03-28T10:00:03.222" v="1097"/>
          <ac:spMkLst>
            <pc:docMk/>
            <pc:sldMk cId="1539011393" sldId="1557"/>
            <ac:spMk id="10" creationId="{C26ED7C1-3F8C-FA41-6CCE-A35B6A3BDDC4}"/>
          </ac:spMkLst>
        </pc:spChg>
        <pc:spChg chg="add del">
          <ac:chgData name="Dominik Buchegger" userId="4419538d-6150-464b-ac11-eb0323261855" providerId="ADAL" clId="{18618F49-CB4F-4F75-B698-CED18DF91205}" dt="2023-03-28T10:00:05.119" v="1099"/>
          <ac:spMkLst>
            <pc:docMk/>
            <pc:sldMk cId="1539011393" sldId="1557"/>
            <ac:spMk id="11" creationId="{0EAFA846-BEE7-A6E2-13E3-EB9608073C1B}"/>
          </ac:spMkLst>
        </pc:spChg>
        <pc:spChg chg="add del">
          <ac:chgData name="Dominik Buchegger" userId="4419538d-6150-464b-ac11-eb0323261855" providerId="ADAL" clId="{18618F49-CB4F-4F75-B698-CED18DF91205}" dt="2023-03-28T10:00:06.926" v="1101"/>
          <ac:spMkLst>
            <pc:docMk/>
            <pc:sldMk cId="1539011393" sldId="1557"/>
            <ac:spMk id="12" creationId="{2B5D1A58-EA59-7836-DC09-FA52E61ED732}"/>
          </ac:spMkLst>
        </pc:spChg>
      </pc:sldChg>
      <pc:sldChg chg="modSp add mod">
        <pc:chgData name="Dominik Buchegger" userId="4419538d-6150-464b-ac11-eb0323261855" providerId="ADAL" clId="{18618F49-CB4F-4F75-B698-CED18DF91205}" dt="2023-03-30T18:32:43.288" v="6868" actId="207"/>
        <pc:sldMkLst>
          <pc:docMk/>
          <pc:sldMk cId="2533122920" sldId="1558"/>
        </pc:sldMkLst>
        <pc:spChg chg="mod">
          <ac:chgData name="Dominik Buchegger" userId="4419538d-6150-464b-ac11-eb0323261855" providerId="ADAL" clId="{18618F49-CB4F-4F75-B698-CED18DF91205}" dt="2023-03-28T10:07:23.715" v="1341" actId="20577"/>
          <ac:spMkLst>
            <pc:docMk/>
            <pc:sldMk cId="2533122920" sldId="1558"/>
            <ac:spMk id="2" creationId="{7663276F-645E-0245-FD41-5261B3D5F600}"/>
          </ac:spMkLst>
        </pc:spChg>
        <pc:spChg chg="mod">
          <ac:chgData name="Dominik Buchegger" userId="4419538d-6150-464b-ac11-eb0323261855" providerId="ADAL" clId="{18618F49-CB4F-4F75-B698-CED18DF91205}" dt="2023-03-30T18:32:33.607" v="6865" actId="207"/>
          <ac:spMkLst>
            <pc:docMk/>
            <pc:sldMk cId="2533122920" sldId="1558"/>
            <ac:spMk id="3" creationId="{3BE6757C-FC4D-A73C-1685-40DF86B9FC9A}"/>
          </ac:spMkLst>
        </pc:spChg>
        <pc:spChg chg="mod">
          <ac:chgData name="Dominik Buchegger" userId="4419538d-6150-464b-ac11-eb0323261855" providerId="ADAL" clId="{18618F49-CB4F-4F75-B698-CED18DF91205}" dt="2023-03-30T18:32:43.288" v="6868" actId="207"/>
          <ac:spMkLst>
            <pc:docMk/>
            <pc:sldMk cId="2533122920" sldId="1558"/>
            <ac:spMk id="4" creationId="{39A97831-4FD2-5A3B-7C54-4C13FD29548E}"/>
          </ac:spMkLst>
        </pc:spChg>
        <pc:spChg chg="mod">
          <ac:chgData name="Dominik Buchegger" userId="4419538d-6150-464b-ac11-eb0323261855" providerId="ADAL" clId="{18618F49-CB4F-4F75-B698-CED18DF91205}" dt="2023-03-28T10:57:42.285" v="5175" actId="20577"/>
          <ac:spMkLst>
            <pc:docMk/>
            <pc:sldMk cId="2533122920" sldId="1558"/>
            <ac:spMk id="7" creationId="{29E70361-E8E8-4B53-4EE9-F792398B9C08}"/>
          </ac:spMkLst>
        </pc:spChg>
        <pc:spChg chg="mod">
          <ac:chgData name="Dominik Buchegger" userId="4419538d-6150-464b-ac11-eb0323261855" providerId="ADAL" clId="{18618F49-CB4F-4F75-B698-CED18DF91205}" dt="2023-03-28T10:57:44.318" v="5177" actId="20577"/>
          <ac:spMkLst>
            <pc:docMk/>
            <pc:sldMk cId="2533122920" sldId="1558"/>
            <ac:spMk id="8" creationId="{ABE45AE2-EBB1-C34C-E55F-085C8C13294D}"/>
          </ac:spMkLst>
        </pc:spChg>
      </pc:sldChg>
      <pc:sldChg chg="modSp new mod">
        <pc:chgData name="Dominik Buchegger" userId="4419538d-6150-464b-ac11-eb0323261855" providerId="ADAL" clId="{18618F49-CB4F-4F75-B698-CED18DF91205}" dt="2023-03-30T18:32:55.110" v="6869" actId="207"/>
        <pc:sldMkLst>
          <pc:docMk/>
          <pc:sldMk cId="312220956" sldId="1559"/>
        </pc:sldMkLst>
        <pc:spChg chg="mod">
          <ac:chgData name="Dominik Buchegger" userId="4419538d-6150-464b-ac11-eb0323261855" providerId="ADAL" clId="{18618F49-CB4F-4F75-B698-CED18DF91205}" dt="2023-03-28T10:57:12.493" v="5172" actId="20577"/>
          <ac:spMkLst>
            <pc:docMk/>
            <pc:sldMk cId="312220956" sldId="1559"/>
            <ac:spMk id="2" creationId="{555328A0-A9EA-D09F-DB51-FBEDF4592D29}"/>
          </ac:spMkLst>
        </pc:spChg>
        <pc:spChg chg="mod">
          <ac:chgData name="Dominik Buchegger" userId="4419538d-6150-464b-ac11-eb0323261855" providerId="ADAL" clId="{18618F49-CB4F-4F75-B698-CED18DF91205}" dt="2023-03-30T18:32:55.110" v="6869" actId="207"/>
          <ac:spMkLst>
            <pc:docMk/>
            <pc:sldMk cId="312220956" sldId="1559"/>
            <ac:spMk id="3" creationId="{9114EA47-D518-7860-DC8F-913EBD6170CB}"/>
          </ac:spMkLst>
        </pc:spChg>
        <pc:spChg chg="mod">
          <ac:chgData name="Dominik Buchegger" userId="4419538d-6150-464b-ac11-eb0323261855" providerId="ADAL" clId="{18618F49-CB4F-4F75-B698-CED18DF91205}" dt="2023-03-28T10:54:27.731" v="5087" actId="20577"/>
          <ac:spMkLst>
            <pc:docMk/>
            <pc:sldMk cId="312220956" sldId="1559"/>
            <ac:spMk id="4" creationId="{D1E91B4C-FDEB-8FF6-5472-D87D4C19CC4E}"/>
          </ac:spMkLst>
        </pc:spChg>
        <pc:spChg chg="mod">
          <ac:chgData name="Dominik Buchegger" userId="4419538d-6150-464b-ac11-eb0323261855" providerId="ADAL" clId="{18618F49-CB4F-4F75-B698-CED18DF91205}" dt="2023-03-28T10:55:44.624" v="5153" actId="20577"/>
          <ac:spMkLst>
            <pc:docMk/>
            <pc:sldMk cId="312220956" sldId="1559"/>
            <ac:spMk id="7" creationId="{AC13598E-C4F7-A025-9E82-D2414496B703}"/>
          </ac:spMkLst>
        </pc:spChg>
        <pc:spChg chg="mod">
          <ac:chgData name="Dominik Buchegger" userId="4419538d-6150-464b-ac11-eb0323261855" providerId="ADAL" clId="{18618F49-CB4F-4F75-B698-CED18DF91205}" dt="2023-03-28T10:50:37.602" v="4858" actId="20577"/>
          <ac:spMkLst>
            <pc:docMk/>
            <pc:sldMk cId="312220956" sldId="1559"/>
            <ac:spMk id="8" creationId="{E4BF8EF5-E38F-AFDD-18BA-EE479D335D0F}"/>
          </ac:spMkLst>
        </pc:spChg>
      </pc:sldChg>
      <pc:sldChg chg="modSp new del mod">
        <pc:chgData name="Dominik Buchegger" userId="4419538d-6150-464b-ac11-eb0323261855" providerId="ADAL" clId="{18618F49-CB4F-4F75-B698-CED18DF91205}" dt="2023-03-28T10:57:26.344" v="5173" actId="47"/>
        <pc:sldMkLst>
          <pc:docMk/>
          <pc:sldMk cId="805099684" sldId="1560"/>
        </pc:sldMkLst>
        <pc:spChg chg="mod">
          <ac:chgData name="Dominik Buchegger" userId="4419538d-6150-464b-ac11-eb0323261855" providerId="ADAL" clId="{18618F49-CB4F-4F75-B698-CED18DF91205}" dt="2023-03-28T10:49:38.929" v="4847" actId="20577"/>
          <ac:spMkLst>
            <pc:docMk/>
            <pc:sldMk cId="805099684" sldId="1560"/>
            <ac:spMk id="2" creationId="{4E4555BD-F62F-82A4-4EA7-2F4526087E02}"/>
          </ac:spMkLst>
        </pc:spChg>
      </pc:sldChg>
      <pc:sldChg chg="modSp add mod">
        <pc:chgData name="Dominik Buchegger" userId="4419538d-6150-464b-ac11-eb0323261855" providerId="ADAL" clId="{18618F49-CB4F-4F75-B698-CED18DF91205}" dt="2023-03-28T11:11:11.702" v="5753" actId="20577"/>
        <pc:sldMkLst>
          <pc:docMk/>
          <pc:sldMk cId="1751008410" sldId="1560"/>
        </pc:sldMkLst>
        <pc:spChg chg="mod">
          <ac:chgData name="Dominik Buchegger" userId="4419538d-6150-464b-ac11-eb0323261855" providerId="ADAL" clId="{18618F49-CB4F-4F75-B698-CED18DF91205}" dt="2023-03-28T11:11:11.702" v="5753" actId="20577"/>
          <ac:spMkLst>
            <pc:docMk/>
            <pc:sldMk cId="1751008410" sldId="1560"/>
            <ac:spMk id="2" creationId="{C36256A2-67B2-CA01-7417-6A9C17C6B307}"/>
          </ac:spMkLst>
        </pc:spChg>
      </pc:sldChg>
      <pc:sldChg chg="addSp delSp modSp add mod ord">
        <pc:chgData name="Dominik Buchegger" userId="4419538d-6150-464b-ac11-eb0323261855" providerId="ADAL" clId="{18618F49-CB4F-4F75-B698-CED18DF91205}" dt="2023-03-28T11:45:40.480" v="6203" actId="478"/>
        <pc:sldMkLst>
          <pc:docMk/>
          <pc:sldMk cId="234966487" sldId="1561"/>
        </pc:sldMkLst>
        <pc:spChg chg="del">
          <ac:chgData name="Dominik Buchegger" userId="4419538d-6150-464b-ac11-eb0323261855" providerId="ADAL" clId="{18618F49-CB4F-4F75-B698-CED18DF91205}" dt="2023-03-28T11:35:30.493" v="5972" actId="478"/>
          <ac:spMkLst>
            <pc:docMk/>
            <pc:sldMk cId="234966487" sldId="1561"/>
            <ac:spMk id="8" creationId="{C968FC5A-BD61-5E29-E7BE-40F3FC2BB939}"/>
          </ac:spMkLst>
        </pc:spChg>
        <pc:spChg chg="add del mod">
          <ac:chgData name="Dominik Buchegger" userId="4419538d-6150-464b-ac11-eb0323261855" providerId="ADAL" clId="{18618F49-CB4F-4F75-B698-CED18DF91205}" dt="2023-03-28T11:45:40.480" v="6203" actId="478"/>
          <ac:spMkLst>
            <pc:docMk/>
            <pc:sldMk cId="234966487" sldId="1561"/>
            <ac:spMk id="9" creationId="{9D914FB7-5819-E82A-B927-022E8CC9F4BC}"/>
          </ac:spMkLst>
        </pc:spChg>
      </pc:sldChg>
      <pc:sldChg chg="addSp delSp modSp add mod ord">
        <pc:chgData name="Dominik Buchegger" userId="4419538d-6150-464b-ac11-eb0323261855" providerId="ADAL" clId="{18618F49-CB4F-4F75-B698-CED18DF91205}" dt="2023-03-28T11:53:22.539" v="6416" actId="1076"/>
        <pc:sldMkLst>
          <pc:docMk/>
          <pc:sldMk cId="1181202433" sldId="1562"/>
        </pc:sldMkLst>
        <pc:spChg chg="mod">
          <ac:chgData name="Dominik Buchegger" userId="4419538d-6150-464b-ac11-eb0323261855" providerId="ADAL" clId="{18618F49-CB4F-4F75-B698-CED18DF91205}" dt="2023-03-28T11:42:11.880" v="6130"/>
          <ac:spMkLst>
            <pc:docMk/>
            <pc:sldMk cId="1181202433" sldId="1562"/>
            <ac:spMk id="2" creationId="{D00D008C-7E34-0616-BFF0-6888EA69FFB1}"/>
          </ac:spMkLst>
        </pc:spChg>
        <pc:spChg chg="del mod">
          <ac:chgData name="Dominik Buchegger" userId="4419538d-6150-464b-ac11-eb0323261855" providerId="ADAL" clId="{18618F49-CB4F-4F75-B698-CED18DF91205}" dt="2023-03-28T11:45:37.482" v="6202" actId="478"/>
          <ac:spMkLst>
            <pc:docMk/>
            <pc:sldMk cId="1181202433" sldId="1562"/>
            <ac:spMk id="5" creationId="{032E3173-6F96-EA3F-2038-8DE4B4C1C1F8}"/>
          </ac:spMkLst>
        </pc:spChg>
        <pc:spChg chg="add del mod">
          <ac:chgData name="Dominik Buchegger" userId="4419538d-6150-464b-ac11-eb0323261855" providerId="ADAL" clId="{18618F49-CB4F-4F75-B698-CED18DF91205}" dt="2023-03-28T11:52:59.608" v="6410" actId="22"/>
          <ac:spMkLst>
            <pc:docMk/>
            <pc:sldMk cId="1181202433" sldId="1562"/>
            <ac:spMk id="7" creationId="{2D910B3D-2CE0-CF6F-367D-57CDDBEE359E}"/>
          </ac:spMkLst>
        </pc:spChg>
        <pc:spChg chg="add mod">
          <ac:chgData name="Dominik Buchegger" userId="4419538d-6150-464b-ac11-eb0323261855" providerId="ADAL" clId="{18618F49-CB4F-4F75-B698-CED18DF91205}" dt="2023-03-28T11:53:19.811" v="6415" actId="1076"/>
          <ac:spMkLst>
            <pc:docMk/>
            <pc:sldMk cId="1181202433" sldId="1562"/>
            <ac:spMk id="8" creationId="{13B6E492-5590-9B63-796A-4444D0E18DAF}"/>
          </ac:spMkLst>
        </pc:spChg>
        <pc:picChg chg="mod">
          <ac:chgData name="Dominik Buchegger" userId="4419538d-6150-464b-ac11-eb0323261855" providerId="ADAL" clId="{18618F49-CB4F-4F75-B698-CED18DF91205}" dt="2023-03-28T11:53:22.539" v="6416" actId="1076"/>
          <ac:picMkLst>
            <pc:docMk/>
            <pc:sldMk cId="1181202433" sldId="1562"/>
            <ac:picMk id="11" creationId="{402B0323-90AC-B6FD-24BC-A2D9CAE5EE1C}"/>
          </ac:picMkLst>
        </pc:picChg>
      </pc:sldChg>
      <pc:sldChg chg="addSp delSp modSp new del mod">
        <pc:chgData name="Dominik Buchegger" userId="4419538d-6150-464b-ac11-eb0323261855" providerId="ADAL" clId="{18618F49-CB4F-4F75-B698-CED18DF91205}" dt="2023-03-28T11:38:12.523" v="6017" actId="47"/>
        <pc:sldMkLst>
          <pc:docMk/>
          <pc:sldMk cId="1748920494" sldId="1563"/>
        </pc:sldMkLst>
        <pc:picChg chg="add del mod">
          <ac:chgData name="Dominik Buchegger" userId="4419538d-6150-464b-ac11-eb0323261855" providerId="ADAL" clId="{18618F49-CB4F-4F75-B698-CED18DF91205}" dt="2023-03-28T11:38:02.445" v="6013" actId="21"/>
          <ac:picMkLst>
            <pc:docMk/>
            <pc:sldMk cId="1748920494" sldId="1563"/>
            <ac:picMk id="5" creationId="{FEA781D7-CD0F-41BB-5E6D-ADD8D150FC85}"/>
          </ac:picMkLst>
        </pc:picChg>
      </pc:sldChg>
      <pc:sldChg chg="delSp modSp add mod">
        <pc:chgData name="Dominik Buchegger" userId="4419538d-6150-464b-ac11-eb0323261855" providerId="ADAL" clId="{18618F49-CB4F-4F75-B698-CED18DF91205}" dt="2023-03-28T11:54:05.384" v="6446" actId="20577"/>
        <pc:sldMkLst>
          <pc:docMk/>
          <pc:sldMk cId="2701039927" sldId="1563"/>
        </pc:sldMkLst>
        <pc:spChg chg="mod">
          <ac:chgData name="Dominik Buchegger" userId="4419538d-6150-464b-ac11-eb0323261855" providerId="ADAL" clId="{18618F49-CB4F-4F75-B698-CED18DF91205}" dt="2023-03-28T11:54:05.384" v="6446" actId="20577"/>
          <ac:spMkLst>
            <pc:docMk/>
            <pc:sldMk cId="2701039927" sldId="1563"/>
            <ac:spMk id="2" creationId="{A8994F40-D352-A095-BEEF-56879E3E8A0D}"/>
          </ac:spMkLst>
        </pc:spChg>
        <pc:spChg chg="del">
          <ac:chgData name="Dominik Buchegger" userId="4419538d-6150-464b-ac11-eb0323261855" providerId="ADAL" clId="{18618F49-CB4F-4F75-B698-CED18DF91205}" dt="2023-03-28T11:46:02.039" v="6205" actId="478"/>
          <ac:spMkLst>
            <pc:docMk/>
            <pc:sldMk cId="2701039927" sldId="1563"/>
            <ac:spMk id="3" creationId="{3E61F4FF-51CE-2407-FB7A-CC92AE2054C0}"/>
          </ac:spMkLst>
        </pc:spChg>
      </pc:sldChg>
      <pc:sldChg chg="delSp add mod ord">
        <pc:chgData name="Dominik Buchegger" userId="4419538d-6150-464b-ac11-eb0323261855" providerId="ADAL" clId="{18618F49-CB4F-4F75-B698-CED18DF91205}" dt="2023-03-28T11:54:28.697" v="6448"/>
        <pc:sldMkLst>
          <pc:docMk/>
          <pc:sldMk cId="1516122661" sldId="1564"/>
        </pc:sldMkLst>
        <pc:spChg chg="del">
          <ac:chgData name="Dominik Buchegger" userId="4419538d-6150-464b-ac11-eb0323261855" providerId="ADAL" clId="{18618F49-CB4F-4F75-B698-CED18DF91205}" dt="2023-03-28T11:46:34.428" v="6208" actId="478"/>
          <ac:spMkLst>
            <pc:docMk/>
            <pc:sldMk cId="1516122661" sldId="1564"/>
            <ac:spMk id="9" creationId="{8B957C1A-FD05-D04F-DC63-E4D29A3D90E1}"/>
          </ac:spMkLst>
        </pc:spChg>
      </pc:sldChg>
    </pc:docChg>
  </pc:docChgLst>
  <pc:docChgLst>
    <pc:chgData name="Dominik Buchegger" userId="7f2052fac20aabcc" providerId="LiveId" clId="{70D9443D-C747-490B-98E8-E2DD71B511C4}"/>
    <pc:docChg chg="delSld">
      <pc:chgData name="Dominik Buchegger" userId="7f2052fac20aabcc" providerId="LiveId" clId="{70D9443D-C747-490B-98E8-E2DD71B511C4}" dt="2023-03-27T08:49:22.263" v="0" actId="47"/>
      <pc:docMkLst>
        <pc:docMk/>
      </pc:docMkLst>
      <pc:sldChg chg="del">
        <pc:chgData name="Dominik Buchegger" userId="7f2052fac20aabcc" providerId="LiveId" clId="{70D9443D-C747-490B-98E8-E2DD71B511C4}" dt="2023-03-27T08:49:22.263" v="0" actId="47"/>
        <pc:sldMkLst>
          <pc:docMk/>
          <pc:sldMk cId="3290298821" sldId="350"/>
        </pc:sldMkLst>
      </pc:sldChg>
      <pc:sldChg chg="del">
        <pc:chgData name="Dominik Buchegger" userId="7f2052fac20aabcc" providerId="LiveId" clId="{70D9443D-C747-490B-98E8-E2DD71B511C4}" dt="2023-03-27T08:49:22.263" v="0" actId="47"/>
        <pc:sldMkLst>
          <pc:docMk/>
          <pc:sldMk cId="1428834151" sldId="351"/>
        </pc:sldMkLst>
      </pc:sldChg>
      <pc:sldChg chg="del">
        <pc:chgData name="Dominik Buchegger" userId="7f2052fac20aabcc" providerId="LiveId" clId="{70D9443D-C747-490B-98E8-E2DD71B511C4}" dt="2023-03-27T08:49:22.263" v="0" actId="47"/>
        <pc:sldMkLst>
          <pc:docMk/>
          <pc:sldMk cId="4204752891" sldId="352"/>
        </pc:sldMkLst>
      </pc:sldChg>
      <pc:sldChg chg="del">
        <pc:chgData name="Dominik Buchegger" userId="7f2052fac20aabcc" providerId="LiveId" clId="{70D9443D-C747-490B-98E8-E2DD71B511C4}" dt="2023-03-27T08:49:22.263" v="0" actId="47"/>
        <pc:sldMkLst>
          <pc:docMk/>
          <pc:sldMk cId="2170744712" sldId="354"/>
        </pc:sldMkLst>
      </pc:sldChg>
      <pc:sldChg chg="del">
        <pc:chgData name="Dominik Buchegger" userId="7f2052fac20aabcc" providerId="LiveId" clId="{70D9443D-C747-490B-98E8-E2DD71B511C4}" dt="2023-03-27T08:49:22.263" v="0" actId="47"/>
        <pc:sldMkLst>
          <pc:docMk/>
          <pc:sldMk cId="1154282754" sldId="361"/>
        </pc:sldMkLst>
      </pc:sldChg>
      <pc:sldChg chg="del">
        <pc:chgData name="Dominik Buchegger" userId="7f2052fac20aabcc" providerId="LiveId" clId="{70D9443D-C747-490B-98E8-E2DD71B511C4}" dt="2023-03-27T08:49:22.263" v="0" actId="47"/>
        <pc:sldMkLst>
          <pc:docMk/>
          <pc:sldMk cId="4173106856" sldId="362"/>
        </pc:sldMkLst>
      </pc:sldChg>
      <pc:sldChg chg="del">
        <pc:chgData name="Dominik Buchegger" userId="7f2052fac20aabcc" providerId="LiveId" clId="{70D9443D-C747-490B-98E8-E2DD71B511C4}" dt="2023-03-27T08:49:22.263" v="0" actId="47"/>
        <pc:sldMkLst>
          <pc:docMk/>
          <pc:sldMk cId="4147637389" sldId="363"/>
        </pc:sldMkLst>
      </pc:sldChg>
      <pc:sldChg chg="del">
        <pc:chgData name="Dominik Buchegger" userId="7f2052fac20aabcc" providerId="LiveId" clId="{70D9443D-C747-490B-98E8-E2DD71B511C4}" dt="2023-03-27T08:49:22.263" v="0" actId="47"/>
        <pc:sldMkLst>
          <pc:docMk/>
          <pc:sldMk cId="1962986633" sldId="364"/>
        </pc:sldMkLst>
      </pc:sldChg>
      <pc:sldChg chg="del">
        <pc:chgData name="Dominik Buchegger" userId="7f2052fac20aabcc" providerId="LiveId" clId="{70D9443D-C747-490B-98E8-E2DD71B511C4}" dt="2023-03-27T08:49:22.263" v="0" actId="47"/>
        <pc:sldMkLst>
          <pc:docMk/>
          <pc:sldMk cId="307401479" sldId="365"/>
        </pc:sldMkLst>
      </pc:sldChg>
      <pc:sldChg chg="del">
        <pc:chgData name="Dominik Buchegger" userId="7f2052fac20aabcc" providerId="LiveId" clId="{70D9443D-C747-490B-98E8-E2DD71B511C4}" dt="2023-03-27T08:49:22.263" v="0" actId="47"/>
        <pc:sldMkLst>
          <pc:docMk/>
          <pc:sldMk cId="3042333542" sldId="366"/>
        </pc:sldMkLst>
      </pc:sldChg>
      <pc:sldChg chg="del">
        <pc:chgData name="Dominik Buchegger" userId="7f2052fac20aabcc" providerId="LiveId" clId="{70D9443D-C747-490B-98E8-E2DD71B511C4}" dt="2023-03-27T08:49:22.263" v="0" actId="47"/>
        <pc:sldMkLst>
          <pc:docMk/>
          <pc:sldMk cId="2251464805" sldId="367"/>
        </pc:sldMkLst>
      </pc:sldChg>
      <pc:sldChg chg="del">
        <pc:chgData name="Dominik Buchegger" userId="7f2052fac20aabcc" providerId="LiveId" clId="{70D9443D-C747-490B-98E8-E2DD71B511C4}" dt="2023-03-27T08:49:22.263" v="0" actId="47"/>
        <pc:sldMkLst>
          <pc:docMk/>
          <pc:sldMk cId="2213383566" sldId="368"/>
        </pc:sldMkLst>
      </pc:sldChg>
      <pc:sldChg chg="del">
        <pc:chgData name="Dominik Buchegger" userId="7f2052fac20aabcc" providerId="LiveId" clId="{70D9443D-C747-490B-98E8-E2DD71B511C4}" dt="2023-03-27T08:49:22.263" v="0" actId="47"/>
        <pc:sldMkLst>
          <pc:docMk/>
          <pc:sldMk cId="1371432072" sldId="369"/>
        </pc:sldMkLst>
      </pc:sldChg>
      <pc:sldChg chg="del">
        <pc:chgData name="Dominik Buchegger" userId="7f2052fac20aabcc" providerId="LiveId" clId="{70D9443D-C747-490B-98E8-E2DD71B511C4}" dt="2023-03-27T08:49:22.263" v="0" actId="47"/>
        <pc:sldMkLst>
          <pc:docMk/>
          <pc:sldMk cId="653643123" sldId="370"/>
        </pc:sldMkLst>
      </pc:sldChg>
      <pc:sldChg chg="del">
        <pc:chgData name="Dominik Buchegger" userId="7f2052fac20aabcc" providerId="LiveId" clId="{70D9443D-C747-490B-98E8-E2DD71B511C4}" dt="2023-03-27T08:49:22.263" v="0" actId="47"/>
        <pc:sldMkLst>
          <pc:docMk/>
          <pc:sldMk cId="3103699205" sldId="371"/>
        </pc:sldMkLst>
      </pc:sldChg>
      <pc:sldChg chg="del">
        <pc:chgData name="Dominik Buchegger" userId="7f2052fac20aabcc" providerId="LiveId" clId="{70D9443D-C747-490B-98E8-E2DD71B511C4}" dt="2023-03-27T08:49:22.263" v="0" actId="47"/>
        <pc:sldMkLst>
          <pc:docMk/>
          <pc:sldMk cId="1074973614" sldId="399"/>
        </pc:sldMkLst>
      </pc:sldChg>
      <pc:sldMasterChg chg="delSldLayout">
        <pc:chgData name="Dominik Buchegger" userId="7f2052fac20aabcc" providerId="LiveId" clId="{70D9443D-C747-490B-98E8-E2DD71B511C4}" dt="2023-03-27T08:49:22.263" v="0" actId="47"/>
        <pc:sldMasterMkLst>
          <pc:docMk/>
          <pc:sldMasterMk cId="4246037650" sldId="2147483660"/>
        </pc:sldMasterMkLst>
        <pc:sldLayoutChg chg="del">
          <pc:chgData name="Dominik Buchegger" userId="7f2052fac20aabcc" providerId="LiveId" clId="{70D9443D-C747-490B-98E8-E2DD71B511C4}" dt="2023-03-27T08:49:22.263" v="0" actId="47"/>
          <pc:sldLayoutMkLst>
            <pc:docMk/>
            <pc:sldMasterMk cId="4246037650" sldId="2147483660"/>
            <pc:sldLayoutMk cId="3793000217" sldId="2147483707"/>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8F3C46-3F11-47F1-8233-2D2A4F656EAA}" type="datetimeFigureOut">
              <a:rPr lang="de-DE" smtClean="0"/>
              <a:t>04.05.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F18140C-7C65-48C5-AF48-8AE3F4A693ED}" type="slidenum">
              <a:rPr lang="de-DE" smtClean="0"/>
              <a:t>‹#›</a:t>
            </a:fld>
            <a:endParaRPr lang="de-DE"/>
          </a:p>
        </p:txBody>
      </p:sp>
    </p:spTree>
    <p:extLst>
      <p:ext uri="{BB962C8B-B14F-4D97-AF65-F5344CB8AC3E}">
        <p14:creationId xmlns:p14="http://schemas.microsoft.com/office/powerpoint/2010/main" val="24745064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F18140C-7C65-48C5-AF48-8AE3F4A693ED}" type="slidenum">
              <a:rPr lang="de-DE" smtClean="0"/>
              <a:t>2</a:t>
            </a:fld>
            <a:endParaRPr lang="de-DE"/>
          </a:p>
        </p:txBody>
      </p:sp>
    </p:spTree>
    <p:extLst>
      <p:ext uri="{BB962C8B-B14F-4D97-AF65-F5344CB8AC3E}">
        <p14:creationId xmlns:p14="http://schemas.microsoft.com/office/powerpoint/2010/main" val="5141840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81C78C-DF60-43AA-9025-896AF7F5120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395044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image" Target="../media/image6.jpeg"/><Relationship Id="rId7" Type="http://schemas.openxmlformats.org/officeDocument/2006/relationships/image" Target="../media/image9.emf"/><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8.png"/><Relationship Id="rId5" Type="http://schemas.openxmlformats.org/officeDocument/2006/relationships/image" Target="../media/image7.emf"/><Relationship Id="rId10" Type="http://schemas.openxmlformats.org/officeDocument/2006/relationships/image" Target="../media/image1.png"/><Relationship Id="rId4" Type="http://schemas.openxmlformats.org/officeDocument/2006/relationships/oleObject" Target="../embeddings/oleObject1.bin"/><Relationship Id="rId9" Type="http://schemas.openxmlformats.org/officeDocument/2006/relationships/image" Target="../media/image11.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2_Titel Slide 1">
    <p:bg>
      <p:bgPr>
        <a:solidFill>
          <a:schemeClr val="bg1"/>
        </a:solidFill>
        <a:effectLst/>
      </p:bgPr>
    </p:bg>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EEE742CE-731B-4B2E-A341-DD1A2BF3F5B5}"/>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0" y="0"/>
            <a:ext cx="9144000" cy="5143498"/>
          </a:xfrm>
          <a:prstGeom prst="rect">
            <a:avLst/>
          </a:prstGeom>
          <a:noFill/>
          <a:extLst>
            <a:ext uri="{909E8E84-426E-40DD-AFC4-6F175D3DCCD1}">
              <a14:hiddenFill xmlns:a14="http://schemas.microsoft.com/office/drawing/2010/main">
                <a:solidFill>
                  <a:srgbClr val="FFFFFF"/>
                </a:solidFill>
              </a14:hiddenFill>
            </a:ext>
          </a:extLst>
        </p:spPr>
      </p:pic>
      <p:sp>
        <p:nvSpPr>
          <p:cNvPr id="9" name="Freeform: Shape 8">
            <a:extLst>
              <a:ext uri="{FF2B5EF4-FFF2-40B4-BE49-F238E27FC236}">
                <a16:creationId xmlns:a16="http://schemas.microsoft.com/office/drawing/2014/main" id="{DFF74B8C-606D-4C49-A5DA-1496FFDE21B4}"/>
              </a:ext>
            </a:extLst>
          </p:cNvPr>
          <p:cNvSpPr/>
          <p:nvPr/>
        </p:nvSpPr>
        <p:spPr>
          <a:xfrm>
            <a:off x="4583371" y="3168046"/>
            <a:ext cx="4560629" cy="1975452"/>
          </a:xfrm>
          <a:custGeom>
            <a:avLst/>
            <a:gdLst>
              <a:gd name="connsiteX0" fmla="*/ 4560629 w 4560629"/>
              <a:gd name="connsiteY0" fmla="*/ 0 h 1975452"/>
              <a:gd name="connsiteX1" fmla="*/ 4560629 w 4560629"/>
              <a:gd name="connsiteY1" fmla="*/ 1975452 h 1975452"/>
              <a:gd name="connsiteX2" fmla="*/ 166568 w 4560629"/>
              <a:gd name="connsiteY2" fmla="*/ 1975452 h 1975452"/>
              <a:gd name="connsiteX3" fmla="*/ 0 w 4560629"/>
              <a:gd name="connsiteY3" fmla="*/ 1045124 h 1975452"/>
            </a:gdLst>
            <a:ahLst/>
            <a:cxnLst>
              <a:cxn ang="0">
                <a:pos x="connsiteX0" y="connsiteY0"/>
              </a:cxn>
              <a:cxn ang="0">
                <a:pos x="connsiteX1" y="connsiteY1"/>
              </a:cxn>
              <a:cxn ang="0">
                <a:pos x="connsiteX2" y="connsiteY2"/>
              </a:cxn>
              <a:cxn ang="0">
                <a:pos x="connsiteX3" y="connsiteY3"/>
              </a:cxn>
            </a:cxnLst>
            <a:rect l="l" t="t" r="r" b="b"/>
            <a:pathLst>
              <a:path w="4560629" h="1975452">
                <a:moveTo>
                  <a:pt x="4560629" y="0"/>
                </a:moveTo>
                <a:lnTo>
                  <a:pt x="4560629" y="1975452"/>
                </a:lnTo>
                <a:lnTo>
                  <a:pt x="166568" y="1975452"/>
                </a:lnTo>
                <a:lnTo>
                  <a:pt x="0" y="1045124"/>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4" name="TextBox 13">
            <a:extLst>
              <a:ext uri="{FF2B5EF4-FFF2-40B4-BE49-F238E27FC236}">
                <a16:creationId xmlns:a16="http://schemas.microsoft.com/office/drawing/2014/main" id="{69B6FC2A-29C4-4742-B32D-604659C0CB22}"/>
              </a:ext>
            </a:extLst>
          </p:cNvPr>
          <p:cNvSpPr txBox="1"/>
          <p:nvPr/>
        </p:nvSpPr>
        <p:spPr>
          <a:xfrm>
            <a:off x="6789318" y="4613375"/>
            <a:ext cx="1995907" cy="153888"/>
          </a:xfrm>
          <a:prstGeom prst="rect">
            <a:avLst/>
          </a:prstGeom>
          <a:noFill/>
        </p:spPr>
        <p:txBody>
          <a:bodyPr wrap="square" lIns="0" tIns="0" rIns="0" bIns="0" rtlCol="0">
            <a:spAutoFit/>
          </a:bodyPr>
          <a:lstStyle/>
          <a:p>
            <a:pPr algn="r"/>
            <a:r>
              <a:rPr lang="en-GB" sz="1000">
                <a:solidFill>
                  <a:schemeClr val="bg2"/>
                </a:solidFill>
              </a:rPr>
              <a:t>From </a:t>
            </a:r>
            <a:r>
              <a:rPr lang="en-GB" sz="1000" err="1">
                <a:solidFill>
                  <a:schemeClr val="bg2"/>
                </a:solidFill>
              </a:rPr>
              <a:t>insight</a:t>
            </a:r>
            <a:r>
              <a:rPr lang="en-GB" sz="1000">
                <a:solidFill>
                  <a:schemeClr val="bg2"/>
                </a:solidFill>
              </a:rPr>
              <a:t> </a:t>
            </a:r>
            <a:r>
              <a:rPr lang="en-GB" sz="1000" err="1">
                <a:solidFill>
                  <a:schemeClr val="bg2"/>
                </a:solidFill>
              </a:rPr>
              <a:t>to</a:t>
            </a:r>
            <a:r>
              <a:rPr lang="en-GB" sz="1000">
                <a:solidFill>
                  <a:schemeClr val="bg2"/>
                </a:solidFill>
              </a:rPr>
              <a:t> </a:t>
            </a:r>
            <a:r>
              <a:rPr lang="en-GB" sz="1000" err="1">
                <a:solidFill>
                  <a:schemeClr val="bg2"/>
                </a:solidFill>
              </a:rPr>
              <a:t>impact</a:t>
            </a:r>
            <a:r>
              <a:rPr lang="en-GB" sz="1000">
                <a:solidFill>
                  <a:schemeClr val="bg2"/>
                </a:solidFill>
              </a:rPr>
              <a:t>.</a:t>
            </a:r>
          </a:p>
        </p:txBody>
      </p:sp>
      <p:pic>
        <p:nvPicPr>
          <p:cNvPr id="1609015164" name="Rectangle 2" descr="{&quot;templafy&quot;:{&quot;id&quot;:&quot;b9ddadaa-0495-446c-a774-3deec88f84b2&quot;}}"/>
          <p:cNvPicPr>
            <a:picLocks noChangeAspect="1"/>
          </p:cNvPicPr>
          <p:nvPr/>
        </p:nvPicPr>
        <p:blipFill>
          <a:blip r:embed="rId3"/>
          <a:stretch>
            <a:fillRect/>
          </a:stretch>
        </p:blipFill>
        <p:spPr>
          <a:xfrm>
            <a:off x="361173" y="313025"/>
            <a:ext cx="2221200" cy="460800"/>
          </a:xfrm>
          <a:prstGeom prst="rect">
            <a:avLst/>
          </a:prstGeom>
        </p:spPr>
      </p:pic>
      <p:sp>
        <p:nvSpPr>
          <p:cNvPr id="5" name="Title 4">
            <a:extLst>
              <a:ext uri="{FF2B5EF4-FFF2-40B4-BE49-F238E27FC236}">
                <a16:creationId xmlns:a16="http://schemas.microsoft.com/office/drawing/2014/main" id="{A891F29F-BED8-4555-9938-829D3AC33287}"/>
              </a:ext>
            </a:extLst>
          </p:cNvPr>
          <p:cNvSpPr>
            <a:spLocks noGrp="1"/>
          </p:cNvSpPr>
          <p:nvPr>
            <p:ph type="title"/>
          </p:nvPr>
        </p:nvSpPr>
        <p:spPr>
          <a:xfrm>
            <a:off x="827015" y="1636541"/>
            <a:ext cx="7958210" cy="1531505"/>
          </a:xfrm>
        </p:spPr>
        <p:txBody>
          <a:bodyPr anchor="b"/>
          <a:lstStyle>
            <a:lvl1pPr>
              <a:lnSpc>
                <a:spcPts val="4200"/>
              </a:lnSpc>
              <a:defRPr sz="4000">
                <a:latin typeface="Gill Sans Nova Light" panose="020B0302020104020203" pitchFamily="34" charset="0"/>
              </a:defRPr>
            </a:lvl1pPr>
          </a:lstStyle>
          <a:p>
            <a:r>
              <a:rPr lang="de-DE"/>
              <a:t>Mastertitelformat bearbeiten</a:t>
            </a:r>
            <a:endParaRPr lang="en-GB"/>
          </a:p>
        </p:txBody>
      </p:sp>
      <p:sp>
        <p:nvSpPr>
          <p:cNvPr id="7" name="Text Placeholder 6">
            <a:extLst>
              <a:ext uri="{FF2B5EF4-FFF2-40B4-BE49-F238E27FC236}">
                <a16:creationId xmlns:a16="http://schemas.microsoft.com/office/drawing/2014/main" id="{D3654089-CB0E-4321-8557-8E0B4ACD847A}"/>
              </a:ext>
            </a:extLst>
          </p:cNvPr>
          <p:cNvSpPr>
            <a:spLocks noGrp="1"/>
          </p:cNvSpPr>
          <p:nvPr>
            <p:ph type="body" sz="quarter" idx="10" hasCustomPrompt="1"/>
          </p:nvPr>
        </p:nvSpPr>
        <p:spPr>
          <a:xfrm>
            <a:off x="831027" y="3305908"/>
            <a:ext cx="3650486" cy="1174017"/>
          </a:xfrm>
        </p:spPr>
        <p:txBody>
          <a:bodyPr>
            <a:normAutofit/>
          </a:bodyPr>
          <a:lstStyle>
            <a:lvl1pPr marL="0" indent="0">
              <a:spcAft>
                <a:spcPts val="0"/>
              </a:spcAft>
              <a:buFont typeface="Arial" panose="020B0604020202020204" pitchFamily="34" charset="0"/>
              <a:buNone/>
              <a:defRPr sz="1600"/>
            </a:lvl1pPr>
            <a:lvl2pPr marL="0" indent="0">
              <a:spcAft>
                <a:spcPts val="0"/>
              </a:spcAft>
              <a:buNone/>
              <a:defRPr sz="1600"/>
            </a:lvl2pPr>
            <a:lvl3pPr marL="0" indent="0">
              <a:spcAft>
                <a:spcPts val="0"/>
              </a:spcAft>
              <a:buNone/>
              <a:defRPr sz="1600"/>
            </a:lvl3pPr>
            <a:lvl4pPr marL="0" indent="0">
              <a:spcAft>
                <a:spcPts val="0"/>
              </a:spcAft>
              <a:buNone/>
              <a:defRPr sz="1600"/>
            </a:lvl4pPr>
            <a:lvl5pPr marL="0" indent="0">
              <a:spcAft>
                <a:spcPts val="0"/>
              </a:spcAft>
              <a:buNone/>
              <a:defRPr sz="1600"/>
            </a:lvl5pPr>
          </a:lstStyle>
          <a:p>
            <a:pPr lvl="0"/>
            <a:r>
              <a:rPr lang="en-US" noProof="0"/>
              <a:t>Placeholder for subtitle, contact information, date etc.</a:t>
            </a:r>
          </a:p>
        </p:txBody>
      </p:sp>
    </p:spTree>
    <p:extLst>
      <p:ext uri="{BB962C8B-B14F-4D97-AF65-F5344CB8AC3E}">
        <p14:creationId xmlns:p14="http://schemas.microsoft.com/office/powerpoint/2010/main" val="28517680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111007C9-750C-45A4-AB1B-CB6B97990CE5}" type="datetime6">
              <a:rPr lang="de-CH" smtClean="0"/>
              <a:t>Mai 23</a:t>
            </a:fld>
            <a:endParaRPr lang="de-DE"/>
          </a:p>
        </p:txBody>
      </p:sp>
    </p:spTree>
    <p:extLst>
      <p:ext uri="{BB962C8B-B14F-4D97-AF65-F5344CB8AC3E}">
        <p14:creationId xmlns:p14="http://schemas.microsoft.com/office/powerpoint/2010/main" val="8505425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65C08088-81A0-403B-BB04-AE6002DCC26A}" type="datetime6">
              <a:rPr lang="de-CH" smtClean="0"/>
              <a:t>Mai 23</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9446743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2621959"/>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1"/>
            <a:ext cx="4122737" cy="2621958"/>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93DD61F4-D9DA-406C-AF0A-CAC39F14C0F6}" type="datetime6">
              <a:rPr lang="de-CH" smtClean="0"/>
              <a:t>Mai 23</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3" name="Textplatzhalter 6">
            <a:extLst>
              <a:ext uri="{FF2B5EF4-FFF2-40B4-BE49-F238E27FC236}">
                <a16:creationId xmlns:a16="http://schemas.microsoft.com/office/drawing/2014/main" id="{86B5E8FE-8CBE-4759-BB01-C3BFECF4A0EE}"/>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4" name="Inhaltsplatzhalter 16">
            <a:extLst>
              <a:ext uri="{FF2B5EF4-FFF2-40B4-BE49-F238E27FC236}">
                <a16:creationId xmlns:a16="http://schemas.microsoft.com/office/drawing/2014/main" id="{8AD8B021-5AD6-44F8-B57D-010BB7B137AA}"/>
              </a:ext>
            </a:extLst>
          </p:cNvPr>
          <p:cNvSpPr>
            <a:spLocks noGrp="1"/>
          </p:cNvSpPr>
          <p:nvPr>
            <p:ph sz="quarter" idx="18"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14434966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a:ln w="12700" cap="flat" cmpd="sng" algn="ctr">
            <a:solidFill>
              <a:srgbClr val="A0A0A0"/>
            </a:solidFill>
            <a:prstDash val="solid"/>
            <a:round/>
            <a:headEnd type="none" w="med" len="med"/>
            <a:tailEnd type="none" w="med" len="med"/>
          </a:ln>
        </p:spPr>
        <p:txBody>
          <a:bodyPr lIns="90000" tIns="144000" rIns="54000" bIns="5400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a:ln w="12700" cap="flat" cmpd="sng" algn="ctr">
            <a:solidFill>
              <a:srgbClr val="A0A0A0"/>
            </a:solidFill>
            <a:prstDash val="solid"/>
            <a:round/>
            <a:headEnd type="none" w="med" len="med"/>
            <a:tailEnd type="none" w="med" len="med"/>
          </a:ln>
        </p:spPr>
        <p:txBody>
          <a:bodyPr vert="horz" lIns="90000" tIns="144000" rIns="54000" bIns="54000" rtlCol="0">
            <a:normAutofit/>
          </a:bodyPr>
          <a:lstStyle>
            <a:lvl1pPr>
              <a:defRPr lang="de-DE"/>
            </a:lvl1pPr>
            <a:lvl2pPr>
              <a:defRPr lang="de-DE"/>
            </a:lvl2pPr>
            <a:lvl3pPr>
              <a:defRPr lang="de-DE"/>
            </a:lvl3pPr>
            <a:lvl4pPr>
              <a:defRPr lang="de-DE"/>
            </a:lvl4pPr>
            <a:lvl5pPr>
              <a:defRPr lang="en-GB"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067FB25E-899A-44E8-9BBB-396B4C7606B9}" type="datetime6">
              <a:rPr lang="de-CH" smtClean="0"/>
              <a:t>Mai 23</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8" name="Textplatzhalter 7">
            <a:extLst>
              <a:ext uri="{FF2B5EF4-FFF2-40B4-BE49-F238E27FC236}">
                <a16:creationId xmlns:a16="http://schemas.microsoft.com/office/drawing/2014/main" id="{2ECDA3B4-D189-4EED-AC0A-770C12A9C9B2}"/>
              </a:ext>
            </a:extLst>
          </p:cNvPr>
          <p:cNvSpPr>
            <a:spLocks noGrp="1"/>
          </p:cNvSpPr>
          <p:nvPr>
            <p:ph type="body" sz="quarter" idx="18" hasCustomPrompt="1"/>
          </p:nvPr>
        </p:nvSpPr>
        <p:spPr>
          <a:xfrm>
            <a:off x="412001"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
        <p:nvSpPr>
          <p:cNvPr id="14" name="Textplatzhalter 7">
            <a:extLst>
              <a:ext uri="{FF2B5EF4-FFF2-40B4-BE49-F238E27FC236}">
                <a16:creationId xmlns:a16="http://schemas.microsoft.com/office/drawing/2014/main" id="{76584061-1DF3-4759-91E9-7033FFD9520D}"/>
              </a:ext>
            </a:extLst>
          </p:cNvPr>
          <p:cNvSpPr>
            <a:spLocks noGrp="1"/>
          </p:cNvSpPr>
          <p:nvPr>
            <p:ph type="body" sz="quarter" idx="19" hasCustomPrompt="1"/>
          </p:nvPr>
        </p:nvSpPr>
        <p:spPr>
          <a:xfrm>
            <a:off x="4712834"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Tree>
    <p:extLst>
      <p:ext uri="{BB962C8B-B14F-4D97-AF65-F5344CB8AC3E}">
        <p14:creationId xmlns:p14="http://schemas.microsoft.com/office/powerpoint/2010/main" val="4453987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2621959"/>
          </a:xfrm>
          <a:ln w="12700" cap="flat" cmpd="sng" algn="ctr">
            <a:solidFill>
              <a:srgbClr val="A0A0A0"/>
            </a:solidFill>
            <a:prstDash val="solid"/>
            <a:round/>
            <a:headEnd type="none" w="med" len="med"/>
            <a:tailEnd type="none" w="med" len="med"/>
          </a:ln>
        </p:spPr>
        <p:txBody>
          <a:bodyPr lIns="90000" tIns="144000" rIns="54000" bIns="5400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2621958"/>
          </a:xfrm>
          <a:ln w="12700" cap="flat" cmpd="sng" algn="ctr">
            <a:solidFill>
              <a:srgbClr val="A0A0A0"/>
            </a:solidFill>
            <a:prstDash val="solid"/>
            <a:round/>
            <a:headEnd type="none" w="med" len="med"/>
            <a:tailEnd type="none" w="med" len="med"/>
          </a:ln>
        </p:spPr>
        <p:txBody>
          <a:bodyPr vert="horz" lIns="90000" tIns="144000" rIns="54000" bIns="54000" rtlCol="0">
            <a:normAutofit/>
          </a:bodyPr>
          <a:lstStyle>
            <a:lvl1pPr>
              <a:defRPr lang="de-DE"/>
            </a:lvl1pPr>
            <a:lvl2pPr>
              <a:defRPr lang="de-DE"/>
            </a:lvl2pPr>
            <a:lvl3pPr>
              <a:defRPr lang="de-DE"/>
            </a:lvl3pPr>
            <a:lvl4pPr>
              <a:defRPr lang="de-DE"/>
            </a:lvl4pPr>
            <a:lvl5pPr>
              <a:defRPr lang="en-GB"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319C7E52-FAF0-4402-816C-D519DB6324B5}" type="datetime6">
              <a:rPr lang="de-CH" smtClean="0"/>
              <a:t>Mai 23</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8" name="Textplatzhalter 7">
            <a:extLst>
              <a:ext uri="{FF2B5EF4-FFF2-40B4-BE49-F238E27FC236}">
                <a16:creationId xmlns:a16="http://schemas.microsoft.com/office/drawing/2014/main" id="{2ECDA3B4-D189-4EED-AC0A-770C12A9C9B2}"/>
              </a:ext>
            </a:extLst>
          </p:cNvPr>
          <p:cNvSpPr>
            <a:spLocks noGrp="1"/>
          </p:cNvSpPr>
          <p:nvPr>
            <p:ph type="body" sz="quarter" idx="18" hasCustomPrompt="1"/>
          </p:nvPr>
        </p:nvSpPr>
        <p:spPr>
          <a:xfrm>
            <a:off x="412001"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
        <p:nvSpPr>
          <p:cNvPr id="14" name="Textplatzhalter 7">
            <a:extLst>
              <a:ext uri="{FF2B5EF4-FFF2-40B4-BE49-F238E27FC236}">
                <a16:creationId xmlns:a16="http://schemas.microsoft.com/office/drawing/2014/main" id="{76584061-1DF3-4759-91E9-7033FFD9520D}"/>
              </a:ext>
            </a:extLst>
          </p:cNvPr>
          <p:cNvSpPr>
            <a:spLocks noGrp="1"/>
          </p:cNvSpPr>
          <p:nvPr>
            <p:ph type="body" sz="quarter" idx="19" hasCustomPrompt="1"/>
          </p:nvPr>
        </p:nvSpPr>
        <p:spPr>
          <a:xfrm>
            <a:off x="4712834"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
        <p:nvSpPr>
          <p:cNvPr id="13" name="Textplatzhalter 6">
            <a:extLst>
              <a:ext uri="{FF2B5EF4-FFF2-40B4-BE49-F238E27FC236}">
                <a16:creationId xmlns:a16="http://schemas.microsoft.com/office/drawing/2014/main" id="{3A5845F3-A444-47AE-917F-673A907B9092}"/>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5" name="Inhaltsplatzhalter 16">
            <a:extLst>
              <a:ext uri="{FF2B5EF4-FFF2-40B4-BE49-F238E27FC236}">
                <a16:creationId xmlns:a16="http://schemas.microsoft.com/office/drawing/2014/main" id="{BF83157E-6215-44CE-AB8B-6FE4750FAB3F}"/>
              </a:ext>
            </a:extLst>
          </p:cNvPr>
          <p:cNvSpPr>
            <a:spLocks noGrp="1"/>
          </p:cNvSpPr>
          <p:nvPr>
            <p:ph sz="quarter" idx="20"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12893874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3203576"/>
          </a:xfrm>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0"/>
            <a:ext cx="4213225" cy="3203575"/>
          </a:xfrm>
        </p:spPr>
        <p:txBody>
          <a:bodyPr anchor="ctr"/>
          <a:lstStyle>
            <a:lvl1pPr algn="ctr">
              <a:defRPr/>
            </a:lvl1pPr>
          </a:lstStyle>
          <a:p>
            <a:r>
              <a:rPr lang="en-US"/>
              <a:t>(</a:t>
            </a:r>
            <a:r>
              <a:rPr lang="en-US" noProof="0"/>
              <a:t>click</a:t>
            </a:r>
            <a:r>
              <a:rPr lang="en-US"/>
              <a:t> to add a picture)</a:t>
            </a:r>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82F54D9E-7D1F-444A-82BF-BBF0595DA982}" type="datetime6">
              <a:rPr lang="de-CH" smtClean="0"/>
              <a:t>Mai 23</a:t>
            </a:fld>
            <a:endParaRPr lang="de-DE"/>
          </a:p>
        </p:txBody>
      </p:sp>
    </p:spTree>
    <p:extLst>
      <p:ext uri="{BB962C8B-B14F-4D97-AF65-F5344CB8AC3E}">
        <p14:creationId xmlns:p14="http://schemas.microsoft.com/office/powerpoint/2010/main" val="34796761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3203576"/>
          </a:xfrm>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0"/>
            <a:ext cx="4213225" cy="3203575"/>
          </a:xfrm>
        </p:spPr>
        <p:txBody>
          <a:bodyPr anchor="ctr"/>
          <a:lstStyle>
            <a:lvl1pPr algn="ctr">
              <a:defRPr/>
            </a:lvl1pPr>
          </a:lstStyle>
          <a:p>
            <a:r>
              <a:rPr lang="en-US"/>
              <a:t>(</a:t>
            </a:r>
            <a:r>
              <a:rPr lang="en-US" noProof="0"/>
              <a:t>click</a:t>
            </a:r>
            <a:r>
              <a:rPr lang="en-US"/>
              <a:t> to add a picture)</a:t>
            </a:r>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09B361C5-E514-4A70-858B-8132FB5C91DF}" type="datetime6">
              <a:rPr lang="de-CH" smtClean="0"/>
              <a:t>Mai 23</a:t>
            </a:fld>
            <a:endParaRPr lang="de-DE"/>
          </a:p>
        </p:txBody>
      </p:sp>
      <p:sp>
        <p:nvSpPr>
          <p:cNvPr id="13" name="Textplatzhalter 3">
            <a:extLst>
              <a:ext uri="{FF2B5EF4-FFF2-40B4-BE49-F238E27FC236}">
                <a16:creationId xmlns:a16="http://schemas.microsoft.com/office/drawing/2014/main" id="{971DEB7D-6D6C-4939-95C1-419F89E998C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n-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17636012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2605054"/>
          </a:xfrm>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1"/>
            <a:ext cx="4213225" cy="2605054"/>
          </a:xfrm>
        </p:spPr>
        <p:txBody>
          <a:bodyPr anchor="ctr"/>
          <a:lstStyle>
            <a:lvl1pPr algn="ctr">
              <a:defRPr/>
            </a:lvl1pPr>
          </a:lstStyle>
          <a:p>
            <a:r>
              <a:rPr lang="en-US"/>
              <a:t>(</a:t>
            </a:r>
            <a:r>
              <a:rPr lang="en-US" noProof="0"/>
              <a:t>click</a:t>
            </a:r>
            <a:r>
              <a:rPr lang="en-US"/>
              <a:t> to add a picture)</a:t>
            </a:r>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218F951F-E348-4CE7-83CE-A0ED851B26A2}" type="datetime6">
              <a:rPr lang="de-CH" smtClean="0"/>
              <a:t>Mai 23</a:t>
            </a:fld>
            <a:endParaRPr lang="de-DE"/>
          </a:p>
        </p:txBody>
      </p:sp>
      <p:sp>
        <p:nvSpPr>
          <p:cNvPr id="13" name="Textplatzhalter 3">
            <a:extLst>
              <a:ext uri="{FF2B5EF4-FFF2-40B4-BE49-F238E27FC236}">
                <a16:creationId xmlns:a16="http://schemas.microsoft.com/office/drawing/2014/main" id="{971DEB7D-6D6C-4939-95C1-419F89E998C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4" name="Textplatzhalter 6">
            <a:extLst>
              <a:ext uri="{FF2B5EF4-FFF2-40B4-BE49-F238E27FC236}">
                <a16:creationId xmlns:a16="http://schemas.microsoft.com/office/drawing/2014/main" id="{9836CA3C-1FB4-448E-8E4F-D95C186A1FD0}"/>
              </a:ext>
            </a:extLst>
          </p:cNvPr>
          <p:cNvSpPr>
            <a:spLocks noGrp="1"/>
          </p:cNvSpPr>
          <p:nvPr>
            <p:ph type="body" sz="quarter" idx="16"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5" name="Inhaltsplatzhalter 16">
            <a:extLst>
              <a:ext uri="{FF2B5EF4-FFF2-40B4-BE49-F238E27FC236}">
                <a16:creationId xmlns:a16="http://schemas.microsoft.com/office/drawing/2014/main" id="{6AAFEC9F-D413-4D3E-8DEC-EF47020CE4D1}"/>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35664220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Zwei Bilder mit Legende">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FFEC9FF2-0829-44EA-809D-F5C42173624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0" y="0"/>
            <a:ext cx="4571999" cy="3887599"/>
          </a:xfrm>
          <a:pattFill prst="wdUpDiag">
            <a:fgClr>
              <a:schemeClr val="accent1"/>
            </a:fgClr>
            <a:bgClr>
              <a:schemeClr val="bg1"/>
            </a:bgClr>
          </a:pattFill>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0"/>
            <a:ext cx="4572000" cy="3887599"/>
          </a:xfrm>
          <a:pattFill prst="wdDnDiag">
            <a:fgClr>
              <a:schemeClr val="accent1"/>
            </a:fgClr>
            <a:bgClr>
              <a:schemeClr val="bg1"/>
            </a:bgClr>
          </a:pattFill>
        </p:spPr>
        <p:txBody>
          <a:bodyPr anchor="ctr"/>
          <a:lstStyle>
            <a:lvl1pPr algn="ctr">
              <a:defRPr/>
            </a:lvl1pPr>
          </a:lstStyle>
          <a:p>
            <a:r>
              <a:rPr lang="en-US" noProof="0"/>
              <a:t>(click to add a picture)</a:t>
            </a:r>
          </a:p>
        </p:txBody>
      </p:sp>
      <p:sp>
        <p:nvSpPr>
          <p:cNvPr id="4" name="Text Placeholder 3">
            <a:extLst>
              <a:ext uri="{FF2B5EF4-FFF2-40B4-BE49-F238E27FC236}">
                <a16:creationId xmlns:a16="http://schemas.microsoft.com/office/drawing/2014/main" id="{C19FAD45-6EEE-4522-8CA6-5189DCDD487C}"/>
              </a:ext>
            </a:extLst>
          </p:cNvPr>
          <p:cNvSpPr>
            <a:spLocks noGrp="1"/>
          </p:cNvSpPr>
          <p:nvPr>
            <p:ph type="body" sz="quarter" idx="16" hasCustomPrompt="1"/>
          </p:nvPr>
        </p:nvSpPr>
        <p:spPr>
          <a:xfrm>
            <a:off x="99317" y="3989388"/>
            <a:ext cx="4382196" cy="490537"/>
          </a:xfrm>
        </p:spPr>
        <p:txBody>
          <a:bodyPr anchor="b">
            <a:normAutofit/>
          </a:bodyPr>
          <a:lstStyle>
            <a:lvl1pPr marL="0" indent="0" algn="ctr">
              <a:buFont typeface="Arial" panose="020B0604020202020204" pitchFamily="34" charset="0"/>
              <a:buNone/>
              <a:defRPr sz="1400"/>
            </a:lvl1pPr>
            <a:lvl2pPr marL="0" indent="0">
              <a:buNone/>
              <a:defRPr sz="1400"/>
            </a:lvl2pPr>
            <a:lvl3pPr marL="0" indent="0">
              <a:buNone/>
              <a:defRPr sz="1400"/>
            </a:lvl3pPr>
            <a:lvl4pPr marL="0" indent="0">
              <a:buNone/>
              <a:defRPr sz="1400"/>
            </a:lvl4pPr>
            <a:lvl5pPr marL="0" indent="0">
              <a:buFont typeface="Arial" panose="020B0604020202020204" pitchFamily="34" charset="0"/>
              <a:buNone/>
              <a:defRPr sz="1400"/>
            </a:lvl5pPr>
          </a:lstStyle>
          <a:p>
            <a:pPr lvl="0"/>
            <a:r>
              <a:rPr lang="en-US" noProof="0"/>
              <a:t>Placeholder for Caption Title</a:t>
            </a:r>
          </a:p>
        </p:txBody>
      </p:sp>
      <p:sp>
        <p:nvSpPr>
          <p:cNvPr id="12" name="Text Placeholder 3">
            <a:extLst>
              <a:ext uri="{FF2B5EF4-FFF2-40B4-BE49-F238E27FC236}">
                <a16:creationId xmlns:a16="http://schemas.microsoft.com/office/drawing/2014/main" id="{447F9A9E-BA08-4C8F-96E1-0E7C7D71B398}"/>
              </a:ext>
            </a:extLst>
          </p:cNvPr>
          <p:cNvSpPr>
            <a:spLocks noGrp="1"/>
          </p:cNvSpPr>
          <p:nvPr>
            <p:ph type="body" sz="quarter" idx="17" hasCustomPrompt="1"/>
          </p:nvPr>
        </p:nvSpPr>
        <p:spPr>
          <a:xfrm>
            <a:off x="4662486" y="3989387"/>
            <a:ext cx="4382195" cy="490537"/>
          </a:xfrm>
        </p:spPr>
        <p:txBody>
          <a:bodyPr anchor="b">
            <a:normAutofit/>
          </a:bodyPr>
          <a:lstStyle>
            <a:lvl1pPr marL="0" indent="0" algn="ctr">
              <a:buFont typeface="Arial" panose="020B0604020202020204" pitchFamily="34" charset="0"/>
              <a:buNone/>
              <a:defRPr sz="1400"/>
            </a:lvl1pPr>
            <a:lvl2pPr marL="0" indent="0">
              <a:buNone/>
              <a:defRPr sz="1400"/>
            </a:lvl2pPr>
            <a:lvl3pPr marL="0" indent="0">
              <a:buNone/>
              <a:defRPr sz="1400"/>
            </a:lvl3pPr>
            <a:lvl4pPr marL="0" indent="0">
              <a:buNone/>
              <a:defRPr sz="1400"/>
            </a:lvl4pPr>
            <a:lvl5pPr marL="0" indent="0">
              <a:buFont typeface="Arial" panose="020B0604020202020204" pitchFamily="34" charset="0"/>
              <a:buNone/>
              <a:defRPr sz="1400"/>
            </a:lvl5pPr>
          </a:lstStyle>
          <a:p>
            <a:pPr lvl="0"/>
            <a:r>
              <a:rPr lang="en-US" noProof="0"/>
              <a:t>Placeholder for Caption Title</a:t>
            </a:r>
          </a:p>
        </p:txBody>
      </p:sp>
      <p:pic>
        <p:nvPicPr>
          <p:cNvPr id="1613922474" name="Rectangle 14" descr="{&quot;templafy&quot;:{&quot;id&quot;:&quot;a3bfa591-4d50-4d64-bc9e-6e4385707fec&quot;}}" hidden="1"/>
          <p:cNvPicPr>
            <a:picLocks noChangeAspect="1"/>
          </p:cNvPicPr>
          <p:nvPr/>
        </p:nvPicPr>
        <p:blipFill>
          <a:blip r:embed="rId2"/>
          <a:stretch>
            <a:fillRect/>
          </a:stretch>
        </p:blipFill>
        <p:spPr>
          <a:xfrm>
            <a:off x="358775" y="4668427"/>
            <a:ext cx="1036800" cy="306000"/>
          </a:xfrm>
          <a:prstGeom prst="rect">
            <a:avLst/>
          </a:prstGeom>
        </p:spPr>
      </p:pic>
      <p:sp>
        <p:nvSpPr>
          <p:cNvPr id="13" name="Date Placeholder 3">
            <a:extLst>
              <a:ext uri="{FF2B5EF4-FFF2-40B4-BE49-F238E27FC236}">
                <a16:creationId xmlns:a16="http://schemas.microsoft.com/office/drawing/2014/main" id="{C2D3E358-7013-49C0-B535-4D724985DD79}"/>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486C75F3-C0D1-4ABB-8738-25AB5753A893}" type="datetime6">
              <a:rPr lang="de-CH" smtClean="0"/>
              <a:t>Mai 23</a:t>
            </a:fld>
            <a:endParaRPr lang="de-DE"/>
          </a:p>
        </p:txBody>
      </p:sp>
    </p:spTree>
    <p:extLst>
      <p:ext uri="{BB962C8B-B14F-4D97-AF65-F5344CB8AC3E}">
        <p14:creationId xmlns:p14="http://schemas.microsoft.com/office/powerpoint/2010/main" val="20812013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D796397B-38EB-490B-98F7-EB0799988FF4}" type="datetime6">
              <a:rPr lang="de-CH" smtClean="0"/>
              <a:t>Mai 23</a:t>
            </a:fld>
            <a:endParaRPr lang="de-DE"/>
          </a:p>
        </p:txBody>
      </p:sp>
    </p:spTree>
    <p:extLst>
      <p:ext uri="{BB962C8B-B14F-4D97-AF65-F5344CB8AC3E}">
        <p14:creationId xmlns:p14="http://schemas.microsoft.com/office/powerpoint/2010/main" val="38514031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 Slide 2">
    <p:bg>
      <p:bgPr>
        <a:solidFill>
          <a:schemeClr val="bg1"/>
        </a:solidFill>
        <a:effectLst/>
      </p:bgPr>
    </p:bg>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69B6FC2A-29C4-4742-B32D-604659C0CB22}"/>
              </a:ext>
            </a:extLst>
          </p:cNvPr>
          <p:cNvSpPr txBox="1"/>
          <p:nvPr/>
        </p:nvSpPr>
        <p:spPr>
          <a:xfrm>
            <a:off x="828000" y="4613375"/>
            <a:ext cx="1997563" cy="153888"/>
          </a:xfrm>
          <a:prstGeom prst="rect">
            <a:avLst/>
          </a:prstGeom>
          <a:noFill/>
        </p:spPr>
        <p:txBody>
          <a:bodyPr wrap="square" lIns="0" tIns="0" rIns="0" bIns="0" rtlCol="0">
            <a:spAutoFit/>
          </a:bodyPr>
          <a:lstStyle/>
          <a:p>
            <a:pPr algn="l"/>
            <a:r>
              <a:rPr lang="en-US" sz="1000" noProof="0">
                <a:solidFill>
                  <a:schemeClr val="tx1"/>
                </a:solidFill>
              </a:rPr>
              <a:t>From insight to impact</a:t>
            </a:r>
          </a:p>
        </p:txBody>
      </p:sp>
      <p:sp>
        <p:nvSpPr>
          <p:cNvPr id="6" name="Picture Placeholder 5">
            <a:extLst>
              <a:ext uri="{FF2B5EF4-FFF2-40B4-BE49-F238E27FC236}">
                <a16:creationId xmlns:a16="http://schemas.microsoft.com/office/drawing/2014/main" id="{1CACC6D5-D1D4-442A-84CB-4AA5E5B9ECDE}"/>
              </a:ext>
            </a:extLst>
          </p:cNvPr>
          <p:cNvSpPr>
            <a:spLocks noGrp="1"/>
          </p:cNvSpPr>
          <p:nvPr>
            <p:ph type="pic" sz="quarter" idx="10" hasCustomPrompt="1"/>
          </p:nvPr>
        </p:nvSpPr>
        <p:spPr>
          <a:xfrm>
            <a:off x="5965200" y="0"/>
            <a:ext cx="3178800" cy="5143500"/>
          </a:xfrm>
          <a:pattFill prst="wdUpDiag">
            <a:fgClr>
              <a:schemeClr val="accent1"/>
            </a:fgClr>
            <a:bgClr>
              <a:schemeClr val="bg1"/>
            </a:bgClr>
          </a:pattFill>
        </p:spPr>
        <p:txBody>
          <a:bodyPr anchor="ctr"/>
          <a:lstStyle>
            <a:lvl1pPr algn="ctr">
              <a:defRPr>
                <a:solidFill>
                  <a:schemeClr val="tx1"/>
                </a:solidFill>
              </a:defRPr>
            </a:lvl1pPr>
          </a:lstStyle>
          <a:p>
            <a:r>
              <a:rPr lang="en-US" noProof="0"/>
              <a:t>(click to insert a picture)</a:t>
            </a:r>
          </a:p>
        </p:txBody>
      </p:sp>
      <p:sp>
        <p:nvSpPr>
          <p:cNvPr id="13" name="Titel 2">
            <a:extLst>
              <a:ext uri="{FF2B5EF4-FFF2-40B4-BE49-F238E27FC236}">
                <a16:creationId xmlns:a16="http://schemas.microsoft.com/office/drawing/2014/main" id="{A1CDFD74-691B-4614-A492-077E7072F1AC}"/>
              </a:ext>
            </a:extLst>
          </p:cNvPr>
          <p:cNvSpPr>
            <a:spLocks noGrp="1"/>
          </p:cNvSpPr>
          <p:nvPr>
            <p:ph type="title" hasCustomPrompt="1"/>
          </p:nvPr>
        </p:nvSpPr>
        <p:spPr>
          <a:xfrm>
            <a:off x="827999" y="1204714"/>
            <a:ext cx="4810801" cy="1686263"/>
          </a:xfrm>
        </p:spPr>
        <p:txBody>
          <a:bodyPr anchor="b"/>
          <a:lstStyle>
            <a:lvl1pPr>
              <a:defRPr sz="4000" b="0">
                <a:latin typeface="Gill Sans Nova Light" panose="020B0302020104020203" pitchFamily="34" charset="0"/>
              </a:defRPr>
            </a:lvl1pPr>
          </a:lstStyle>
          <a:p>
            <a:r>
              <a:rPr lang="en-US" noProof="0"/>
              <a:t>Title placeholder</a:t>
            </a:r>
          </a:p>
        </p:txBody>
      </p:sp>
      <p:sp>
        <p:nvSpPr>
          <p:cNvPr id="15" name="Inhaltsplatzhalter 5">
            <a:extLst>
              <a:ext uri="{FF2B5EF4-FFF2-40B4-BE49-F238E27FC236}">
                <a16:creationId xmlns:a16="http://schemas.microsoft.com/office/drawing/2014/main" id="{AE1AF548-C38C-443B-8063-F7E88D88692B}"/>
              </a:ext>
            </a:extLst>
          </p:cNvPr>
          <p:cNvSpPr>
            <a:spLocks noGrp="1"/>
          </p:cNvSpPr>
          <p:nvPr>
            <p:ph sz="quarter" idx="11" hasCustomPrompt="1"/>
          </p:nvPr>
        </p:nvSpPr>
        <p:spPr>
          <a:xfrm>
            <a:off x="827999" y="3123866"/>
            <a:ext cx="4810801" cy="1341437"/>
          </a:xfrm>
        </p:spPr>
        <p:txBody>
          <a:bodyPr>
            <a:normAutofit/>
          </a:bodyPr>
          <a:lstStyle>
            <a:lvl1pPr>
              <a:defRPr sz="1600"/>
            </a:lvl1pPr>
          </a:lstStyle>
          <a:p>
            <a:pPr lvl="0"/>
            <a:r>
              <a:rPr lang="en-US" noProof="0"/>
              <a:t>Placeholder for subtitle, contact information, date etc.</a:t>
            </a:r>
          </a:p>
        </p:txBody>
      </p:sp>
      <p:pic>
        <p:nvPicPr>
          <p:cNvPr id="7" name="Rectangle 2" descr="{&quot;templafy&quot;:{&quot;id&quot;:&quot;b9ddadaa-0495-446c-a774-3deec88f84b2&quot;}}">
            <a:extLst>
              <a:ext uri="{FF2B5EF4-FFF2-40B4-BE49-F238E27FC236}">
                <a16:creationId xmlns:a16="http://schemas.microsoft.com/office/drawing/2014/main" id="{9E48B927-DD41-4992-B1BC-98281B1B6BED}"/>
              </a:ext>
            </a:extLst>
          </p:cNvPr>
          <p:cNvPicPr>
            <a:picLocks noChangeAspect="1"/>
          </p:cNvPicPr>
          <p:nvPr/>
        </p:nvPicPr>
        <p:blipFill>
          <a:blip r:embed="rId2"/>
          <a:stretch>
            <a:fillRect/>
          </a:stretch>
        </p:blipFill>
        <p:spPr>
          <a:xfrm>
            <a:off x="361173" y="313025"/>
            <a:ext cx="2221200" cy="460800"/>
          </a:xfrm>
          <a:prstGeom prst="rect">
            <a:avLst/>
          </a:prstGeom>
        </p:spPr>
      </p:pic>
    </p:spTree>
    <p:extLst>
      <p:ext uri="{BB962C8B-B14F-4D97-AF65-F5344CB8AC3E}">
        <p14:creationId xmlns:p14="http://schemas.microsoft.com/office/powerpoint/2010/main" val="1279096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78E12DF-9BBF-4E12-BDDF-B9E8E5B05C6B}" type="datetime6">
              <a:rPr lang="de-CH" smtClean="0"/>
              <a:t>Mai 23</a:t>
            </a:fld>
            <a:endParaRPr lang="de-DE"/>
          </a:p>
        </p:txBody>
      </p:sp>
      <p:sp>
        <p:nvSpPr>
          <p:cNvPr id="10" name="Textplatzhalter 3">
            <a:extLst>
              <a:ext uri="{FF2B5EF4-FFF2-40B4-BE49-F238E27FC236}">
                <a16:creationId xmlns:a16="http://schemas.microsoft.com/office/drawing/2014/main" id="{6318D65C-D216-4FD0-81E1-BE6FBAB1CAAC}"/>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40496171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79F0516-DC2F-4A1B-9AE7-52332A8498FC}" type="datetime6">
              <a:rPr lang="de-CH" smtClean="0"/>
              <a:t>Mai 23</a:t>
            </a:fld>
            <a:endParaRPr lang="de-DE"/>
          </a:p>
        </p:txBody>
      </p:sp>
      <p:sp>
        <p:nvSpPr>
          <p:cNvPr id="10" name="Textplatzhalter 3">
            <a:extLst>
              <a:ext uri="{FF2B5EF4-FFF2-40B4-BE49-F238E27FC236}">
                <a16:creationId xmlns:a16="http://schemas.microsoft.com/office/drawing/2014/main" id="{6318D65C-D216-4FD0-81E1-BE6FBAB1CAAC}"/>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2" name="Textplatzhalter 6">
            <a:extLst>
              <a:ext uri="{FF2B5EF4-FFF2-40B4-BE49-F238E27FC236}">
                <a16:creationId xmlns:a16="http://schemas.microsoft.com/office/drawing/2014/main" id="{6A048957-9563-4CBB-9658-4EEC37F56DEA}"/>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3" name="Inhaltsplatzhalter 16">
            <a:extLst>
              <a:ext uri="{FF2B5EF4-FFF2-40B4-BE49-F238E27FC236}">
                <a16:creationId xmlns:a16="http://schemas.microsoft.com/office/drawing/2014/main" id="{EE6EFAB4-A25E-40AE-A96E-9D0D5472F14C}"/>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37999432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ld Vollfläch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C11C186-C392-4982-A2C0-7824EE98FA4F}"/>
              </a:ext>
            </a:extLst>
          </p:cNvPr>
          <p:cNvSpPr>
            <a:spLocks noGrp="1"/>
          </p:cNvSpPr>
          <p:nvPr>
            <p:ph type="pic" sz="quarter" idx="10" hasCustomPrompt="1"/>
          </p:nvPr>
        </p:nvSpPr>
        <p:spPr>
          <a:xfrm>
            <a:off x="0" y="0"/>
            <a:ext cx="9144000" cy="5143500"/>
          </a:xfrm>
        </p:spPr>
        <p:txBody>
          <a:bodyPr anchor="ctr"/>
          <a:lstStyle>
            <a:lvl1pPr algn="ctr">
              <a:defRPr/>
            </a:lvl1pPr>
          </a:lstStyle>
          <a:p>
            <a:r>
              <a:rPr lang="en-US" noProof="0"/>
              <a:t>(click to add a picture)</a:t>
            </a:r>
          </a:p>
        </p:txBody>
      </p:sp>
    </p:spTree>
    <p:extLst>
      <p:ext uri="{BB962C8B-B14F-4D97-AF65-F5344CB8AC3E}">
        <p14:creationId xmlns:p14="http://schemas.microsoft.com/office/powerpoint/2010/main" val="34893341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Zitat schwarze Schrift">
    <p:bg>
      <p:bgPr>
        <a:solidFill>
          <a:schemeClr val="accent2"/>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95F94A4-74DF-4FC6-AF8D-8F883B56E718}"/>
              </a:ext>
            </a:extLst>
          </p:cNvPr>
          <p:cNvSpPr>
            <a:spLocks noGrp="1"/>
          </p:cNvSpPr>
          <p:nvPr>
            <p:ph type="body" sz="quarter" idx="10" hasCustomPrompt="1"/>
          </p:nvPr>
        </p:nvSpPr>
        <p:spPr>
          <a:xfrm>
            <a:off x="828000" y="735013"/>
            <a:ext cx="7957225" cy="2525712"/>
          </a:xfrm>
        </p:spPr>
        <p:txBody>
          <a:bodyPr anchor="b">
            <a:normAutofit/>
          </a:bodyPr>
          <a:lstStyle>
            <a:lvl1pPr marL="0">
              <a:lnSpc>
                <a:spcPct val="110000"/>
              </a:lnSpc>
              <a:buFontTx/>
              <a:buNone/>
              <a:defRPr sz="5000">
                <a:solidFill>
                  <a:schemeClr val="tx1"/>
                </a:solidFill>
                <a:latin typeface="Gill Sans Nova Light" panose="020B0302020104020203" pitchFamily="34" charset="0"/>
              </a:defRPr>
            </a:lvl1pPr>
            <a:lvl2pPr marL="0" indent="0">
              <a:lnSpc>
                <a:spcPts val="5200"/>
              </a:lnSpc>
              <a:buFontTx/>
              <a:buNone/>
              <a:defRPr sz="5000">
                <a:solidFill>
                  <a:schemeClr val="tx1"/>
                </a:solidFill>
                <a:latin typeface="Gill Alt One MT Light" panose="020B0302020104020203" pitchFamily="34" charset="0"/>
              </a:defRPr>
            </a:lvl2pPr>
            <a:lvl3pPr marL="0" indent="0">
              <a:lnSpc>
                <a:spcPts val="5200"/>
              </a:lnSpc>
              <a:buFontTx/>
              <a:buNone/>
              <a:defRPr sz="5000">
                <a:solidFill>
                  <a:schemeClr val="tx1"/>
                </a:solidFill>
                <a:latin typeface="Gill Alt One MT Light" panose="020B0302020104020203" pitchFamily="34" charset="0"/>
              </a:defRPr>
            </a:lvl3pPr>
            <a:lvl4pPr marL="0" indent="0">
              <a:lnSpc>
                <a:spcPts val="5200"/>
              </a:lnSpc>
              <a:buFontTx/>
              <a:buNone/>
              <a:defRPr sz="5000">
                <a:solidFill>
                  <a:schemeClr val="tx1"/>
                </a:solidFill>
                <a:latin typeface="Gill Alt One MT Light" panose="020B0302020104020203" pitchFamily="34" charset="0"/>
              </a:defRPr>
            </a:lvl4pPr>
            <a:lvl5pPr marL="0">
              <a:lnSpc>
                <a:spcPts val="5200"/>
              </a:lnSpc>
              <a:buFontTx/>
              <a:buNone/>
              <a:defRPr sz="5000">
                <a:solidFill>
                  <a:schemeClr val="tx1"/>
                </a:solidFill>
                <a:latin typeface="Gill Alt One MT Light" panose="020B0302020104020203" pitchFamily="34" charset="0"/>
              </a:defRPr>
            </a:lvl5pPr>
          </a:lstStyle>
          <a:p>
            <a:pPr lvl="0"/>
            <a:r>
              <a:rPr lang="en-US" noProof="0"/>
              <a:t>Placeholder for a Title</a:t>
            </a:r>
          </a:p>
        </p:txBody>
      </p:sp>
      <p:sp>
        <p:nvSpPr>
          <p:cNvPr id="9" name="Text Placeholder 8">
            <a:extLst>
              <a:ext uri="{FF2B5EF4-FFF2-40B4-BE49-F238E27FC236}">
                <a16:creationId xmlns:a16="http://schemas.microsoft.com/office/drawing/2014/main" id="{ED8D12DF-4F43-44AF-B5F9-5E632D8CD53D}"/>
              </a:ext>
            </a:extLst>
          </p:cNvPr>
          <p:cNvSpPr>
            <a:spLocks noGrp="1"/>
          </p:cNvSpPr>
          <p:nvPr>
            <p:ph type="body" sz="quarter" idx="11" hasCustomPrompt="1"/>
          </p:nvPr>
        </p:nvSpPr>
        <p:spPr>
          <a:xfrm>
            <a:off x="827999" y="3548063"/>
            <a:ext cx="5741765" cy="931862"/>
          </a:xfrm>
        </p:spPr>
        <p:txBody>
          <a:bodyPr>
            <a:noAutofit/>
          </a:bodyPr>
          <a:lstStyle>
            <a:lvl1pPr marL="0" indent="0">
              <a:buFont typeface="Arial" panose="020B0604020202020204" pitchFamily="34" charset="0"/>
              <a:buNone/>
              <a:defRPr sz="1800"/>
            </a:lvl1pPr>
            <a:lvl2pPr marL="0" indent="0">
              <a:buNone/>
              <a:defRPr sz="1800"/>
            </a:lvl2pPr>
            <a:lvl3pPr marL="0" indent="0">
              <a:buNone/>
              <a:defRPr sz="1800"/>
            </a:lvl3pPr>
            <a:lvl4pPr marL="0" indent="0">
              <a:buNone/>
              <a:defRPr sz="1800"/>
            </a:lvl4pPr>
            <a:lvl5pPr marL="0" indent="0">
              <a:buFont typeface="Arial" panose="020B0604020202020204" pitchFamily="34" charset="0"/>
              <a:buNone/>
              <a:defRPr sz="1800"/>
            </a:lvl5pPr>
          </a:lstStyle>
          <a:p>
            <a:pPr lvl="0"/>
            <a:r>
              <a:rPr lang="en-US" noProof="0"/>
              <a:t>Placeholder for a sub-title </a:t>
            </a:r>
          </a:p>
        </p:txBody>
      </p:sp>
    </p:spTree>
    <p:extLst>
      <p:ext uri="{BB962C8B-B14F-4D97-AF65-F5344CB8AC3E}">
        <p14:creationId xmlns:p14="http://schemas.microsoft.com/office/powerpoint/2010/main" val="11041204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Zitat weisse Schrift">
    <p:bg>
      <p:bgPr>
        <a:solidFill>
          <a:schemeClr val="accent3"/>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48C5A9E-D3FC-4F7A-895D-E35078A993C5}"/>
              </a:ext>
            </a:extLst>
          </p:cNvPr>
          <p:cNvSpPr>
            <a:spLocks noGrp="1"/>
          </p:cNvSpPr>
          <p:nvPr>
            <p:ph type="body" sz="quarter" idx="10" hasCustomPrompt="1"/>
          </p:nvPr>
        </p:nvSpPr>
        <p:spPr>
          <a:xfrm>
            <a:off x="828000" y="735013"/>
            <a:ext cx="7957225" cy="2525712"/>
          </a:xfrm>
        </p:spPr>
        <p:txBody>
          <a:bodyPr anchor="b">
            <a:normAutofit/>
          </a:bodyPr>
          <a:lstStyle>
            <a:lvl1pPr marL="0">
              <a:lnSpc>
                <a:spcPct val="110000"/>
              </a:lnSpc>
              <a:buFontTx/>
              <a:buNone/>
              <a:defRPr sz="5000">
                <a:solidFill>
                  <a:schemeClr val="tx1"/>
                </a:solidFill>
                <a:latin typeface="Gill Sans Nova Light" panose="020B0302020104020203" pitchFamily="34" charset="0"/>
              </a:defRPr>
            </a:lvl1pPr>
            <a:lvl2pPr marL="0" indent="0">
              <a:lnSpc>
                <a:spcPts val="5200"/>
              </a:lnSpc>
              <a:buFontTx/>
              <a:buNone/>
              <a:defRPr sz="5000">
                <a:solidFill>
                  <a:schemeClr val="tx1"/>
                </a:solidFill>
                <a:latin typeface="Gill Alt One MT Light" panose="020B0302020104020203" pitchFamily="34" charset="0"/>
              </a:defRPr>
            </a:lvl2pPr>
            <a:lvl3pPr marL="0" indent="0">
              <a:lnSpc>
                <a:spcPts val="5200"/>
              </a:lnSpc>
              <a:buFontTx/>
              <a:buNone/>
              <a:defRPr sz="5000">
                <a:solidFill>
                  <a:schemeClr val="tx1"/>
                </a:solidFill>
                <a:latin typeface="Gill Alt One MT Light" panose="020B0302020104020203" pitchFamily="34" charset="0"/>
              </a:defRPr>
            </a:lvl3pPr>
            <a:lvl4pPr marL="0" indent="0">
              <a:lnSpc>
                <a:spcPts val="5200"/>
              </a:lnSpc>
              <a:buFontTx/>
              <a:buNone/>
              <a:defRPr sz="5000">
                <a:solidFill>
                  <a:schemeClr val="tx1"/>
                </a:solidFill>
                <a:latin typeface="Gill Alt One MT Light" panose="020B0302020104020203" pitchFamily="34" charset="0"/>
              </a:defRPr>
            </a:lvl4pPr>
            <a:lvl5pPr marL="0">
              <a:lnSpc>
                <a:spcPts val="5200"/>
              </a:lnSpc>
              <a:buFontTx/>
              <a:buNone/>
              <a:defRPr sz="5000">
                <a:solidFill>
                  <a:schemeClr val="tx1"/>
                </a:solidFill>
                <a:latin typeface="Gill Alt One MT Light" panose="020B0302020104020203" pitchFamily="34" charset="0"/>
              </a:defRPr>
            </a:lvl5pPr>
          </a:lstStyle>
          <a:p>
            <a:pPr lvl="0"/>
            <a:r>
              <a:rPr lang="en-US" noProof="0"/>
              <a:t>Placeholder for a Title</a:t>
            </a:r>
          </a:p>
        </p:txBody>
      </p:sp>
      <p:sp>
        <p:nvSpPr>
          <p:cNvPr id="5" name="Text Placeholder 8">
            <a:extLst>
              <a:ext uri="{FF2B5EF4-FFF2-40B4-BE49-F238E27FC236}">
                <a16:creationId xmlns:a16="http://schemas.microsoft.com/office/drawing/2014/main" id="{E333CEB4-EDBA-436D-9394-E4DEFD39C827}"/>
              </a:ext>
            </a:extLst>
          </p:cNvPr>
          <p:cNvSpPr>
            <a:spLocks noGrp="1"/>
          </p:cNvSpPr>
          <p:nvPr>
            <p:ph type="body" sz="quarter" idx="11" hasCustomPrompt="1"/>
          </p:nvPr>
        </p:nvSpPr>
        <p:spPr>
          <a:xfrm>
            <a:off x="827999" y="3548063"/>
            <a:ext cx="5741765" cy="931862"/>
          </a:xfrm>
        </p:spPr>
        <p:txBody>
          <a:bodyPr>
            <a:noAutofit/>
          </a:bodyPr>
          <a:lstStyle>
            <a:lvl1pPr marL="0" indent="0">
              <a:buFont typeface="Arial" panose="020B0604020202020204" pitchFamily="34" charset="0"/>
              <a:buNone/>
              <a:defRPr sz="1800"/>
            </a:lvl1pPr>
            <a:lvl2pPr marL="0" indent="0">
              <a:buNone/>
              <a:defRPr sz="1800"/>
            </a:lvl2pPr>
            <a:lvl3pPr marL="0" indent="0">
              <a:buNone/>
              <a:defRPr sz="1800"/>
            </a:lvl3pPr>
            <a:lvl4pPr marL="0" indent="0">
              <a:buNone/>
              <a:defRPr sz="1800"/>
            </a:lvl4pPr>
            <a:lvl5pPr marL="0" indent="0">
              <a:buFont typeface="Arial" panose="020B0604020202020204" pitchFamily="34" charset="0"/>
              <a:buNone/>
              <a:defRPr sz="1800"/>
            </a:lvl5pPr>
          </a:lstStyle>
          <a:p>
            <a:pPr lvl="0"/>
            <a:r>
              <a:rPr lang="en-US" noProof="0"/>
              <a:t>Placeholder for a sub-title </a:t>
            </a:r>
          </a:p>
        </p:txBody>
      </p:sp>
    </p:spTree>
    <p:extLst>
      <p:ext uri="{BB962C8B-B14F-4D97-AF65-F5344CB8AC3E}">
        <p14:creationId xmlns:p14="http://schemas.microsoft.com/office/powerpoint/2010/main" val="38188518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Statement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0D1F60-1436-43F1-AAD9-4C2415299607}"/>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bg2"/>
                </a:solidFill>
                <a:latin typeface="Gill Sans Nova Light" panose="020B0302020104020203" pitchFamily="34" charset="0"/>
              </a:defRPr>
            </a:lvl1pPr>
          </a:lstStyle>
          <a:p>
            <a:r>
              <a:rPr lang="en-US" noProof="0"/>
              <a:t>Placeholder for a Title</a:t>
            </a:r>
          </a:p>
        </p:txBody>
      </p:sp>
      <p:sp>
        <p:nvSpPr>
          <p:cNvPr id="4" name="Inhaltsplatzhalter 3">
            <a:extLst>
              <a:ext uri="{FF2B5EF4-FFF2-40B4-BE49-F238E27FC236}">
                <a16:creationId xmlns:a16="http://schemas.microsoft.com/office/drawing/2014/main" id="{DE199CDC-B569-4BBB-9A2F-680DDE6121E0}"/>
              </a:ext>
            </a:extLst>
          </p:cNvPr>
          <p:cNvSpPr>
            <a:spLocks noGrp="1"/>
          </p:cNvSpPr>
          <p:nvPr>
            <p:ph sz="quarter" idx="11" hasCustomPrompt="1"/>
          </p:nvPr>
        </p:nvSpPr>
        <p:spPr>
          <a:xfrm>
            <a:off x="6624638" y="735013"/>
            <a:ext cx="2160587" cy="2160587"/>
          </a:xfrm>
        </p:spPr>
        <p:txBody>
          <a:bodyPr/>
          <a:lstStyle>
            <a:lvl1pPr algn="ctr">
              <a:defRPr>
                <a:solidFill>
                  <a:schemeClr val="bg1"/>
                </a:solidFill>
              </a:defRPr>
            </a:lvl1pPr>
          </a:lstStyle>
          <a:p>
            <a:pPr lvl="0"/>
            <a:r>
              <a:rPr lang="de-DE"/>
              <a:t>(</a:t>
            </a:r>
            <a:r>
              <a:rPr lang="de-DE" err="1"/>
              <a:t>click</a:t>
            </a:r>
            <a:r>
              <a:rPr lang="de-DE"/>
              <a:t> on </a:t>
            </a:r>
            <a:r>
              <a:rPr lang="de-DE" err="1"/>
              <a:t>the</a:t>
            </a:r>
            <a:r>
              <a:rPr lang="de-DE"/>
              <a:t> </a:t>
            </a:r>
            <a:r>
              <a:rPr lang="de-DE" err="1"/>
              <a:t>content</a:t>
            </a:r>
            <a:r>
              <a:rPr lang="de-DE"/>
              <a:t> type </a:t>
            </a:r>
            <a:r>
              <a:rPr lang="de-DE" err="1"/>
              <a:t>you</a:t>
            </a:r>
            <a:r>
              <a:rPr lang="de-DE"/>
              <a:t> </a:t>
            </a:r>
            <a:r>
              <a:rPr lang="de-DE" err="1"/>
              <a:t>wish</a:t>
            </a:r>
            <a:r>
              <a:rPr lang="de-DE"/>
              <a:t> </a:t>
            </a:r>
            <a:r>
              <a:rPr lang="de-DE" err="1"/>
              <a:t>to</a:t>
            </a:r>
            <a:r>
              <a:rPr lang="de-DE"/>
              <a:t> </a:t>
            </a:r>
            <a:r>
              <a:rPr lang="de-DE" err="1"/>
              <a:t>insert</a:t>
            </a:r>
            <a:r>
              <a:rPr lang="de-DE"/>
              <a:t>, </a:t>
            </a:r>
            <a:r>
              <a:rPr lang="de-DE" err="1"/>
              <a:t>here</a:t>
            </a:r>
            <a:r>
              <a:rPr lang="de-DE"/>
              <a:t>: </a:t>
            </a:r>
            <a:r>
              <a:rPr lang="de-DE" err="1"/>
              <a:t>icons</a:t>
            </a:r>
            <a:r>
              <a:rPr lang="de-DE"/>
              <a:t>)</a:t>
            </a:r>
          </a:p>
        </p:txBody>
      </p:sp>
    </p:spTree>
    <p:extLst>
      <p:ext uri="{BB962C8B-B14F-4D97-AF65-F5344CB8AC3E}">
        <p14:creationId xmlns:p14="http://schemas.microsoft.com/office/powerpoint/2010/main" val="385585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Statement 2">
    <p:bg>
      <p:bgPr>
        <a:solidFill>
          <a:schemeClr val="accent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56F08FA-3E26-4DE6-8960-EF5638923CCD}"/>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tx1"/>
                </a:solidFill>
                <a:latin typeface="Gill Sans Nova Light" panose="020B0302020104020203" pitchFamily="34" charset="0"/>
              </a:defRPr>
            </a:lvl1pPr>
          </a:lstStyle>
          <a:p>
            <a:r>
              <a:rPr lang="en-US" noProof="0"/>
              <a:t>Placeholder for a Title</a:t>
            </a:r>
          </a:p>
        </p:txBody>
      </p:sp>
      <p:sp>
        <p:nvSpPr>
          <p:cNvPr id="6" name="Inhaltsplatzhalter 3">
            <a:extLst>
              <a:ext uri="{FF2B5EF4-FFF2-40B4-BE49-F238E27FC236}">
                <a16:creationId xmlns:a16="http://schemas.microsoft.com/office/drawing/2014/main" id="{99DA47FD-9D2D-476D-A2A9-1C05F2E33B68}"/>
              </a:ext>
            </a:extLst>
          </p:cNvPr>
          <p:cNvSpPr>
            <a:spLocks noGrp="1"/>
          </p:cNvSpPr>
          <p:nvPr>
            <p:ph sz="quarter" idx="11" hasCustomPrompt="1"/>
          </p:nvPr>
        </p:nvSpPr>
        <p:spPr>
          <a:xfrm>
            <a:off x="6624638" y="735013"/>
            <a:ext cx="2160587" cy="2160587"/>
          </a:xfrm>
        </p:spPr>
        <p:txBody>
          <a:bodyPr/>
          <a:lstStyle>
            <a:lvl1pPr algn="ctr">
              <a:defRPr>
                <a:solidFill>
                  <a:schemeClr val="tx1"/>
                </a:solidFill>
              </a:defRPr>
            </a:lvl1pPr>
          </a:lstStyle>
          <a:p>
            <a:pPr lvl="0"/>
            <a:r>
              <a:rPr lang="de-DE"/>
              <a:t>(</a:t>
            </a:r>
            <a:r>
              <a:rPr lang="de-DE" err="1"/>
              <a:t>click</a:t>
            </a:r>
            <a:r>
              <a:rPr lang="de-DE"/>
              <a:t> on </a:t>
            </a:r>
            <a:r>
              <a:rPr lang="de-DE" err="1"/>
              <a:t>the</a:t>
            </a:r>
            <a:r>
              <a:rPr lang="de-DE"/>
              <a:t> </a:t>
            </a:r>
            <a:r>
              <a:rPr lang="de-DE" err="1"/>
              <a:t>content</a:t>
            </a:r>
            <a:r>
              <a:rPr lang="de-DE"/>
              <a:t> type </a:t>
            </a:r>
            <a:r>
              <a:rPr lang="de-DE" err="1"/>
              <a:t>you</a:t>
            </a:r>
            <a:r>
              <a:rPr lang="de-DE"/>
              <a:t> </a:t>
            </a:r>
            <a:r>
              <a:rPr lang="de-DE" err="1"/>
              <a:t>wish</a:t>
            </a:r>
            <a:r>
              <a:rPr lang="de-DE"/>
              <a:t> </a:t>
            </a:r>
            <a:r>
              <a:rPr lang="de-DE" err="1"/>
              <a:t>to</a:t>
            </a:r>
            <a:r>
              <a:rPr lang="de-DE"/>
              <a:t> </a:t>
            </a:r>
            <a:r>
              <a:rPr lang="de-DE" err="1"/>
              <a:t>insert</a:t>
            </a:r>
            <a:r>
              <a:rPr lang="de-DE"/>
              <a:t>, </a:t>
            </a:r>
            <a:r>
              <a:rPr lang="de-DE" err="1"/>
              <a:t>here</a:t>
            </a:r>
            <a:r>
              <a:rPr lang="de-DE"/>
              <a:t>: </a:t>
            </a:r>
            <a:r>
              <a:rPr lang="de-DE" err="1"/>
              <a:t>icons</a:t>
            </a:r>
            <a:r>
              <a:rPr lang="de-DE"/>
              <a:t>)</a:t>
            </a:r>
          </a:p>
        </p:txBody>
      </p:sp>
    </p:spTree>
    <p:extLst>
      <p:ext uri="{BB962C8B-B14F-4D97-AF65-F5344CB8AC3E}">
        <p14:creationId xmlns:p14="http://schemas.microsoft.com/office/powerpoint/2010/main" val="39024940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Le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AEF01-8430-4429-BC41-FFA4FCB67CC9}"/>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tx1"/>
                </a:solidFill>
                <a:latin typeface="Gill Sans Nova Light" panose="020B0302020104020203" pitchFamily="34" charset="0"/>
              </a:defRPr>
            </a:lvl1pPr>
          </a:lstStyle>
          <a:p>
            <a:r>
              <a:rPr lang="en-US" noProof="0"/>
              <a:t>Placeholder for a Title</a:t>
            </a:r>
          </a:p>
        </p:txBody>
      </p:sp>
      <p:sp>
        <p:nvSpPr>
          <p:cNvPr id="3" name="Inhaltsplatzhalter 3">
            <a:extLst>
              <a:ext uri="{FF2B5EF4-FFF2-40B4-BE49-F238E27FC236}">
                <a16:creationId xmlns:a16="http://schemas.microsoft.com/office/drawing/2014/main" id="{60883619-1961-463F-AD3D-4B226F4EB13D}"/>
              </a:ext>
            </a:extLst>
          </p:cNvPr>
          <p:cNvSpPr>
            <a:spLocks noGrp="1"/>
          </p:cNvSpPr>
          <p:nvPr>
            <p:ph sz="quarter" idx="11" hasCustomPrompt="1"/>
          </p:nvPr>
        </p:nvSpPr>
        <p:spPr>
          <a:xfrm>
            <a:off x="6624638" y="735013"/>
            <a:ext cx="2160587" cy="2160587"/>
          </a:xfrm>
        </p:spPr>
        <p:txBody>
          <a:bodyPr/>
          <a:lstStyle>
            <a:lvl1pPr algn="ctr">
              <a:defRPr>
                <a:solidFill>
                  <a:schemeClr val="tx1"/>
                </a:solidFill>
              </a:defRPr>
            </a:lvl1pPr>
          </a:lstStyle>
          <a:p>
            <a:pPr lvl="0"/>
            <a:r>
              <a:rPr lang="de-DE"/>
              <a:t>(</a:t>
            </a:r>
            <a:r>
              <a:rPr lang="de-DE" err="1"/>
              <a:t>click</a:t>
            </a:r>
            <a:r>
              <a:rPr lang="de-DE"/>
              <a:t> on </a:t>
            </a:r>
            <a:r>
              <a:rPr lang="de-DE" err="1"/>
              <a:t>the</a:t>
            </a:r>
            <a:r>
              <a:rPr lang="de-DE"/>
              <a:t> </a:t>
            </a:r>
            <a:r>
              <a:rPr lang="de-DE" err="1"/>
              <a:t>content</a:t>
            </a:r>
            <a:r>
              <a:rPr lang="de-DE"/>
              <a:t> type </a:t>
            </a:r>
            <a:r>
              <a:rPr lang="de-DE" err="1"/>
              <a:t>you</a:t>
            </a:r>
            <a:r>
              <a:rPr lang="de-DE"/>
              <a:t> </a:t>
            </a:r>
            <a:r>
              <a:rPr lang="de-DE" err="1"/>
              <a:t>wish</a:t>
            </a:r>
            <a:r>
              <a:rPr lang="de-DE"/>
              <a:t> </a:t>
            </a:r>
            <a:r>
              <a:rPr lang="de-DE" err="1"/>
              <a:t>to</a:t>
            </a:r>
            <a:r>
              <a:rPr lang="de-DE"/>
              <a:t> </a:t>
            </a:r>
            <a:r>
              <a:rPr lang="de-DE" err="1"/>
              <a:t>insert</a:t>
            </a:r>
            <a:r>
              <a:rPr lang="de-DE"/>
              <a:t>, </a:t>
            </a:r>
            <a:r>
              <a:rPr lang="de-DE" err="1"/>
              <a:t>here</a:t>
            </a:r>
            <a:r>
              <a:rPr lang="de-DE"/>
              <a:t>: </a:t>
            </a:r>
            <a:r>
              <a:rPr lang="de-DE" err="1"/>
              <a:t>icons</a:t>
            </a:r>
            <a:r>
              <a:rPr lang="de-DE"/>
              <a:t>)</a:t>
            </a:r>
          </a:p>
        </p:txBody>
      </p:sp>
    </p:spTree>
    <p:extLst>
      <p:ext uri="{BB962C8B-B14F-4D97-AF65-F5344CB8AC3E}">
        <p14:creationId xmlns:p14="http://schemas.microsoft.com/office/powerpoint/2010/main" val="35700218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D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981B0-6792-4738-ACB8-050730738F15}"/>
              </a:ext>
            </a:extLst>
          </p:cNvPr>
          <p:cNvSpPr>
            <a:spLocks noGrp="1"/>
          </p:cNvSpPr>
          <p:nvPr>
            <p:ph type="title"/>
          </p:nvPr>
        </p:nvSpPr>
        <p:spPr>
          <a:xfrm>
            <a:off x="828000" y="1044000"/>
            <a:ext cx="7957225" cy="685801"/>
          </a:xfrm>
        </p:spPr>
        <p:txBody>
          <a:bodyPr/>
          <a:lstStyle>
            <a:lvl1pPr>
              <a:lnSpc>
                <a:spcPts val="5200"/>
              </a:lnSpc>
              <a:defRPr sz="5000">
                <a:latin typeface="Gill Sans Nova Light" panose="020B0302020104020203" pitchFamily="34" charset="0"/>
              </a:defRPr>
            </a:lvl1pPr>
          </a:lstStyle>
          <a:p>
            <a:r>
              <a:rPr lang="de-DE"/>
              <a:t>Mastertitelformat bearbeiten</a:t>
            </a:r>
            <a:endParaRPr lang="en-GB"/>
          </a:p>
        </p:txBody>
      </p:sp>
      <p:sp>
        <p:nvSpPr>
          <p:cNvPr id="7" name="Text Placeholder 6">
            <a:extLst>
              <a:ext uri="{FF2B5EF4-FFF2-40B4-BE49-F238E27FC236}">
                <a16:creationId xmlns:a16="http://schemas.microsoft.com/office/drawing/2014/main" id="{D87D0F6F-53A1-4152-9807-5EC1BBC8849C}"/>
              </a:ext>
            </a:extLst>
          </p:cNvPr>
          <p:cNvSpPr>
            <a:spLocks noGrp="1"/>
          </p:cNvSpPr>
          <p:nvPr>
            <p:ph type="body" sz="quarter" idx="13"/>
          </p:nvPr>
        </p:nvSpPr>
        <p:spPr>
          <a:xfrm>
            <a:off x="828000"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8" name="Text Placeholder 6">
            <a:extLst>
              <a:ext uri="{FF2B5EF4-FFF2-40B4-BE49-F238E27FC236}">
                <a16:creationId xmlns:a16="http://schemas.microsoft.com/office/drawing/2014/main" id="{7824BC02-7B0E-4C56-B49A-5A28F9E62BE1}"/>
              </a:ext>
            </a:extLst>
          </p:cNvPr>
          <p:cNvSpPr>
            <a:spLocks noGrp="1"/>
          </p:cNvSpPr>
          <p:nvPr>
            <p:ph type="body" sz="quarter" idx="14"/>
          </p:nvPr>
        </p:nvSpPr>
        <p:spPr>
          <a:xfrm>
            <a:off x="828000"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2" name="Text Placeholder 6">
            <a:extLst>
              <a:ext uri="{FF2B5EF4-FFF2-40B4-BE49-F238E27FC236}">
                <a16:creationId xmlns:a16="http://schemas.microsoft.com/office/drawing/2014/main" id="{ADF580D6-76FA-48E5-A6F9-C7D7F9ECA0CF}"/>
              </a:ext>
            </a:extLst>
          </p:cNvPr>
          <p:cNvSpPr>
            <a:spLocks noGrp="1"/>
          </p:cNvSpPr>
          <p:nvPr>
            <p:ph type="body" sz="quarter" idx="16"/>
          </p:nvPr>
        </p:nvSpPr>
        <p:spPr>
          <a:xfrm>
            <a:off x="2886816"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3" name="Text Placeholder 6">
            <a:extLst>
              <a:ext uri="{FF2B5EF4-FFF2-40B4-BE49-F238E27FC236}">
                <a16:creationId xmlns:a16="http://schemas.microsoft.com/office/drawing/2014/main" id="{D6CE2E2F-1BA4-4018-8B3C-5192B4A35E20}"/>
              </a:ext>
            </a:extLst>
          </p:cNvPr>
          <p:cNvSpPr>
            <a:spLocks noGrp="1"/>
          </p:cNvSpPr>
          <p:nvPr>
            <p:ph type="body" sz="quarter" idx="17"/>
          </p:nvPr>
        </p:nvSpPr>
        <p:spPr>
          <a:xfrm>
            <a:off x="2886816"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4" name="Text Placeholder 6">
            <a:extLst>
              <a:ext uri="{FF2B5EF4-FFF2-40B4-BE49-F238E27FC236}">
                <a16:creationId xmlns:a16="http://schemas.microsoft.com/office/drawing/2014/main" id="{9780CD93-461B-4895-AFE1-B11CB717CAC3}"/>
              </a:ext>
            </a:extLst>
          </p:cNvPr>
          <p:cNvSpPr>
            <a:spLocks noGrp="1"/>
          </p:cNvSpPr>
          <p:nvPr>
            <p:ph type="body" sz="quarter" idx="18"/>
          </p:nvPr>
        </p:nvSpPr>
        <p:spPr>
          <a:xfrm>
            <a:off x="4945933"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5" name="Text Placeholder 6">
            <a:extLst>
              <a:ext uri="{FF2B5EF4-FFF2-40B4-BE49-F238E27FC236}">
                <a16:creationId xmlns:a16="http://schemas.microsoft.com/office/drawing/2014/main" id="{7670DE1A-52CE-4331-B7C3-9D35588A2926}"/>
              </a:ext>
            </a:extLst>
          </p:cNvPr>
          <p:cNvSpPr>
            <a:spLocks noGrp="1"/>
          </p:cNvSpPr>
          <p:nvPr>
            <p:ph type="body" sz="quarter" idx="19"/>
          </p:nvPr>
        </p:nvSpPr>
        <p:spPr>
          <a:xfrm>
            <a:off x="4945933"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3" name="Rectangle 2" descr="{&quot;templafy&quot;:{&quot;id&quot;:&quot;b1422e0e-bb0a-41ba-ad6b-c8c9f213ea93&quot;}}">
            <a:extLst>
              <a:ext uri="{FF2B5EF4-FFF2-40B4-BE49-F238E27FC236}">
                <a16:creationId xmlns:a16="http://schemas.microsoft.com/office/drawing/2014/main" id="{36F02173-B0F5-4193-B6FF-8607454762B4}"/>
              </a:ext>
            </a:extLst>
          </p:cNvPr>
          <p:cNvSpPr/>
          <p:nvPr/>
        </p:nvSpPr>
        <p:spPr>
          <a:xfrm>
            <a:off x="4945930" y="3715567"/>
            <a:ext cx="2291576" cy="991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l">
              <a:lnSpc>
                <a:spcPts val="1200"/>
              </a:lnSpc>
            </a:pPr>
            <a:r>
              <a:rPr lang="en-GB" sz="1000">
                <a:solidFill>
                  <a:schemeClr val="tx1"/>
                </a:solidFill>
              </a:rPr>
              <a:t>University of St.Gallen
School of Computer Science (SCS-HSG)</a:t>
            </a:r>
          </a:p>
          <a:p>
            <a:pPr algn="l">
              <a:lnSpc>
                <a:spcPts val="1200"/>
              </a:lnSpc>
            </a:pPr>
            <a:r>
              <a:rPr lang="en-GB" sz="1000" err="1">
                <a:solidFill>
                  <a:schemeClr val="tx1"/>
                </a:solidFill>
              </a:rPr>
              <a:t>Torstrasse</a:t>
            </a:r>
            <a:r>
              <a:rPr lang="en-GB" sz="1000">
                <a:solidFill>
                  <a:schemeClr val="tx1"/>
                </a:solidFill>
              </a:rPr>
              <a:t> 25</a:t>
            </a:r>
          </a:p>
          <a:p>
            <a:pPr algn="l">
              <a:lnSpc>
                <a:spcPts val="1200"/>
              </a:lnSpc>
            </a:pPr>
            <a:r>
              <a:rPr lang="en-GB" sz="1000">
                <a:solidFill>
                  <a:schemeClr val="tx1"/>
                </a:solidFill>
              </a:rPr>
              <a:t>9000 St.Gallen 
scs.unisg.ch</a:t>
            </a:r>
          </a:p>
        </p:txBody>
      </p:sp>
      <p:pic>
        <p:nvPicPr>
          <p:cNvPr id="16" name="Rectangle 2" descr="{&quot;templafy&quot;:{&quot;id&quot;:&quot;b9ddadaa-0495-446c-a774-3deec88f84b2&quot;}}">
            <a:extLst>
              <a:ext uri="{FF2B5EF4-FFF2-40B4-BE49-F238E27FC236}">
                <a16:creationId xmlns:a16="http://schemas.microsoft.com/office/drawing/2014/main" id="{A7C8AF82-B874-4858-A482-57343B3E6178}"/>
              </a:ext>
            </a:extLst>
          </p:cNvPr>
          <p:cNvPicPr>
            <a:picLocks noChangeAspect="1"/>
          </p:cNvPicPr>
          <p:nvPr/>
        </p:nvPicPr>
        <p:blipFill>
          <a:blip r:embed="rId2"/>
          <a:stretch>
            <a:fillRect/>
          </a:stretch>
        </p:blipFill>
        <p:spPr>
          <a:xfrm>
            <a:off x="798816" y="4246055"/>
            <a:ext cx="2221200" cy="460800"/>
          </a:xfrm>
          <a:prstGeom prst="rect">
            <a:avLst/>
          </a:prstGeom>
        </p:spPr>
      </p:pic>
    </p:spTree>
    <p:extLst>
      <p:ext uri="{BB962C8B-B14F-4D97-AF65-F5344CB8AC3E}">
        <p14:creationId xmlns:p14="http://schemas.microsoft.com/office/powerpoint/2010/main" val="5187094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2_One content, Subtitle w/o punchline">
    <p:spTree>
      <p:nvGrpSpPr>
        <p:cNvPr id="1" name=""/>
        <p:cNvGrpSpPr/>
        <p:nvPr/>
      </p:nvGrpSpPr>
      <p:grpSpPr>
        <a:xfrm>
          <a:off x="0" y="0"/>
          <a:ext cx="0" cy="0"/>
          <a:chOff x="0" y="0"/>
          <a:chExt cx="0" cy="0"/>
        </a:xfrm>
      </p:grpSpPr>
      <p:sp>
        <p:nvSpPr>
          <p:cNvPr id="9" name="Inhaltsplatzhalter 8"/>
          <p:cNvSpPr>
            <a:spLocks noGrp="1"/>
          </p:cNvSpPr>
          <p:nvPr>
            <p:ph sz="quarter" idx="12" hasCustomPrompt="1"/>
          </p:nvPr>
        </p:nvSpPr>
        <p:spPr>
          <a:xfrm>
            <a:off x="359569" y="844153"/>
            <a:ext cx="8640366" cy="4049855"/>
          </a:xfrm>
          <a:prstGeom prst="rect">
            <a:avLst/>
          </a:prstGeom>
        </p:spPr>
        <p:txBody>
          <a:bodyPr vert="horz" lIns="0" tIns="0" rIns="0" bIns="0" rtlCol="0">
            <a:norm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el 2">
            <a:extLst>
              <a:ext uri="{FF2B5EF4-FFF2-40B4-BE49-F238E27FC236}">
                <a16:creationId xmlns:a16="http://schemas.microsoft.com/office/drawing/2014/main" id="{9DC11C2E-AD36-4B73-B462-AAD5FCEA1BD2}"/>
              </a:ext>
            </a:extLst>
          </p:cNvPr>
          <p:cNvSpPr>
            <a:spLocks noGrp="1"/>
          </p:cNvSpPr>
          <p:nvPr>
            <p:ph type="title" hasCustomPrompt="1"/>
          </p:nvPr>
        </p:nvSpPr>
        <p:spPr>
          <a:xfrm>
            <a:off x="359569" y="385762"/>
            <a:ext cx="8640366" cy="288970"/>
          </a:xfrm>
        </p:spPr>
        <p:txBody>
          <a:bodyPr/>
          <a:lstStyle>
            <a:lvl1pPr>
              <a:defRPr/>
            </a:lvl1pPr>
          </a:lstStyle>
          <a:p>
            <a:r>
              <a:rPr lang="en-US"/>
              <a:t>Action Title</a:t>
            </a:r>
          </a:p>
        </p:txBody>
      </p:sp>
      <p:sp>
        <p:nvSpPr>
          <p:cNvPr id="7" name="Textplatzhalter 3">
            <a:extLst>
              <a:ext uri="{FF2B5EF4-FFF2-40B4-BE49-F238E27FC236}">
                <a16:creationId xmlns:a16="http://schemas.microsoft.com/office/drawing/2014/main" id="{9A4A3C0D-6744-447E-BEEE-FAE26C49E383}"/>
              </a:ext>
            </a:extLst>
          </p:cNvPr>
          <p:cNvSpPr>
            <a:spLocks noGrp="1"/>
          </p:cNvSpPr>
          <p:nvPr>
            <p:ph type="body" sz="quarter" idx="10" hasCustomPrompt="1"/>
          </p:nvPr>
        </p:nvSpPr>
        <p:spPr>
          <a:xfrm>
            <a:off x="359569" y="23813"/>
            <a:ext cx="8640366" cy="361950"/>
          </a:xfrm>
        </p:spPr>
        <p:txBody>
          <a:bodyPr anchor="b">
            <a:normAutofit/>
          </a:bodyPr>
          <a:lstStyle>
            <a:lvl1pPr marL="0" indent="0">
              <a:buNone/>
              <a:defRPr sz="1500">
                <a:solidFill>
                  <a:schemeClr val="tx1">
                    <a:lumMod val="65000"/>
                    <a:lumOff val="35000"/>
                  </a:schemeClr>
                </a:solidFill>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2" name="Datumsplatzhalter 1">
            <a:extLst>
              <a:ext uri="{FF2B5EF4-FFF2-40B4-BE49-F238E27FC236}">
                <a16:creationId xmlns:a16="http://schemas.microsoft.com/office/drawing/2014/main" id="{BFF1A4FC-02B0-44A7-816B-6DFED6983992}"/>
              </a:ext>
            </a:extLst>
          </p:cNvPr>
          <p:cNvSpPr>
            <a:spLocks noGrp="1"/>
          </p:cNvSpPr>
          <p:nvPr>
            <p:ph type="dt" sz="half" idx="13"/>
          </p:nvPr>
        </p:nvSpPr>
        <p:spPr/>
        <p:txBody>
          <a:bodyPr/>
          <a:lstStyle/>
          <a:p>
            <a:pPr>
              <a:defRPr/>
            </a:pPr>
            <a:r>
              <a:rPr lang="de-DE">
                <a:cs typeface="Arial" panose="020B0604020202020204" pitchFamily="34" charset="0"/>
              </a:rPr>
              <a:t>© Sep-21, SCS-HSG</a:t>
            </a:r>
            <a:endParaRPr lang="en-US">
              <a:cs typeface="Arial" panose="020B0604020202020204" pitchFamily="34" charset="0"/>
            </a:endParaRPr>
          </a:p>
        </p:txBody>
      </p:sp>
      <p:sp>
        <p:nvSpPr>
          <p:cNvPr id="4" name="Foliennummernplatzhalter 3">
            <a:extLst>
              <a:ext uri="{FF2B5EF4-FFF2-40B4-BE49-F238E27FC236}">
                <a16:creationId xmlns:a16="http://schemas.microsoft.com/office/drawing/2014/main" id="{B8ED31CC-9992-4EF2-9FBA-7E8136EA5BE6}"/>
              </a:ext>
            </a:extLst>
          </p:cNvPr>
          <p:cNvSpPr>
            <a:spLocks noGrp="1"/>
          </p:cNvSpPr>
          <p:nvPr>
            <p:ph type="sldNum" sz="quarter" idx="14"/>
          </p:nvPr>
        </p:nvSpPr>
        <p:spPr/>
        <p:txBody>
          <a:bodyPr/>
          <a:lstStyle/>
          <a:p>
            <a:fld id="{7D77B3A3-157C-467D-BC92-7A7CB5728D67}" type="slidenum">
              <a:rPr lang="de-DE" smtClean="0"/>
              <a:pPr/>
              <a:t>‹#›</a:t>
            </a:fld>
            <a:endParaRPr lang="de-DE"/>
          </a:p>
        </p:txBody>
      </p:sp>
    </p:spTree>
    <p:extLst>
      <p:ext uri="{BB962C8B-B14F-4D97-AF65-F5344CB8AC3E}">
        <p14:creationId xmlns:p14="http://schemas.microsoft.com/office/powerpoint/2010/main" val="2640182969"/>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el Slide 3">
    <p:bg>
      <p:bgPr>
        <a:solidFill>
          <a:schemeClr val="bg1"/>
        </a:solidFill>
        <a:effectLst/>
      </p:bgPr>
    </p:bg>
    <p:spTree>
      <p:nvGrpSpPr>
        <p:cNvPr id="1" name=""/>
        <p:cNvGrpSpPr/>
        <p:nvPr/>
      </p:nvGrpSpPr>
      <p:grpSpPr>
        <a:xfrm>
          <a:off x="0" y="0"/>
          <a:ext cx="0" cy="0"/>
          <a:chOff x="0" y="0"/>
          <a:chExt cx="0" cy="0"/>
        </a:xfrm>
      </p:grpSpPr>
      <p:sp>
        <p:nvSpPr>
          <p:cNvPr id="26" name="Freihandform: Form 25">
            <a:extLst>
              <a:ext uri="{FF2B5EF4-FFF2-40B4-BE49-F238E27FC236}">
                <a16:creationId xmlns:a16="http://schemas.microsoft.com/office/drawing/2014/main" id="{50C66745-AD63-46D3-91AF-72BE6979D8D8}"/>
              </a:ext>
            </a:extLst>
          </p:cNvPr>
          <p:cNvSpPr/>
          <p:nvPr/>
        </p:nvSpPr>
        <p:spPr>
          <a:xfrm>
            <a:off x="0" y="0"/>
            <a:ext cx="9144000" cy="5143500"/>
          </a:xfrm>
          <a:custGeom>
            <a:avLst/>
            <a:gdLst>
              <a:gd name="connsiteX0" fmla="*/ 0 w 9144000"/>
              <a:gd name="connsiteY0" fmla="*/ 0 h 5143500"/>
              <a:gd name="connsiteX1" fmla="*/ 9144000 w 9144000"/>
              <a:gd name="connsiteY1" fmla="*/ 0 h 5143500"/>
              <a:gd name="connsiteX2" fmla="*/ 9144000 w 9144000"/>
              <a:gd name="connsiteY2" fmla="*/ 453906 h 5143500"/>
              <a:gd name="connsiteX3" fmla="*/ 5748398 w 9144000"/>
              <a:gd name="connsiteY3" fmla="*/ 1289643 h 5143500"/>
              <a:gd name="connsiteX4" fmla="*/ 6249560 w 9144000"/>
              <a:gd name="connsiteY4" fmla="*/ 3963138 h 5143500"/>
              <a:gd name="connsiteX5" fmla="*/ 9144000 w 9144000"/>
              <a:gd name="connsiteY5" fmla="*/ 4239640 h 5143500"/>
              <a:gd name="connsiteX6" fmla="*/ 9144000 w 9144000"/>
              <a:gd name="connsiteY6" fmla="*/ 5143500 h 5143500"/>
              <a:gd name="connsiteX7" fmla="*/ 0 w 9144000"/>
              <a:gd name="connsiteY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3500">
                <a:moveTo>
                  <a:pt x="0" y="0"/>
                </a:moveTo>
                <a:lnTo>
                  <a:pt x="9144000" y="0"/>
                </a:lnTo>
                <a:lnTo>
                  <a:pt x="9144000" y="453906"/>
                </a:lnTo>
                <a:lnTo>
                  <a:pt x="5748398" y="1289643"/>
                </a:lnTo>
                <a:lnTo>
                  <a:pt x="6249560" y="3963138"/>
                </a:lnTo>
                <a:lnTo>
                  <a:pt x="9144000" y="4239640"/>
                </a:lnTo>
                <a:lnTo>
                  <a:pt x="9144000" y="5143500"/>
                </a:lnTo>
                <a:lnTo>
                  <a:pt x="0" y="51435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pic>
        <p:nvPicPr>
          <p:cNvPr id="21" name="Grafik 20">
            <a:extLst>
              <a:ext uri="{FF2B5EF4-FFF2-40B4-BE49-F238E27FC236}">
                <a16:creationId xmlns:a16="http://schemas.microsoft.com/office/drawing/2014/main" id="{FAD15927-0B76-484F-B9F5-0F2A90885963}"/>
              </a:ext>
            </a:extLst>
          </p:cNvPr>
          <p:cNvPicPr>
            <a:picLocks noChangeAspect="1"/>
          </p:cNvPicPr>
          <p:nvPr/>
        </p:nvPicPr>
        <p:blipFill>
          <a:blip r:embed="rId2"/>
          <a:srcRect/>
          <a:stretch>
            <a:fillRect/>
          </a:stretch>
        </p:blipFill>
        <p:spPr>
          <a:xfrm>
            <a:off x="5730729" y="1591797"/>
            <a:ext cx="2481287" cy="2755631"/>
          </a:xfrm>
          <a:custGeom>
            <a:avLst/>
            <a:gdLst>
              <a:gd name="connsiteX0" fmla="*/ 0 w 2481287"/>
              <a:gd name="connsiteY0" fmla="*/ 0 h 2755631"/>
              <a:gd name="connsiteX1" fmla="*/ 87497 w 2481287"/>
              <a:gd name="connsiteY1" fmla="*/ 0 h 2755631"/>
              <a:gd name="connsiteX2" fmla="*/ 532018 w 2481287"/>
              <a:gd name="connsiteY2" fmla="*/ 2371341 h 2755631"/>
              <a:gd name="connsiteX3" fmla="*/ 2481287 w 2481287"/>
              <a:gd name="connsiteY3" fmla="*/ 2557552 h 2755631"/>
              <a:gd name="connsiteX4" fmla="*/ 2481287 w 2481287"/>
              <a:gd name="connsiteY4" fmla="*/ 2755631 h 2755631"/>
              <a:gd name="connsiteX5" fmla="*/ 0 w 2481287"/>
              <a:gd name="connsiteY5" fmla="*/ 2755631 h 2755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287" h="2755631">
                <a:moveTo>
                  <a:pt x="0" y="0"/>
                </a:moveTo>
                <a:lnTo>
                  <a:pt x="87497" y="0"/>
                </a:lnTo>
                <a:lnTo>
                  <a:pt x="532018" y="2371341"/>
                </a:lnTo>
                <a:lnTo>
                  <a:pt x="2481287" y="2557552"/>
                </a:lnTo>
                <a:lnTo>
                  <a:pt x="2481287" y="2755631"/>
                </a:lnTo>
                <a:lnTo>
                  <a:pt x="0" y="2755631"/>
                </a:lnTo>
                <a:close/>
              </a:path>
            </a:pathLst>
          </a:custGeom>
        </p:spPr>
      </p:pic>
      <p:sp>
        <p:nvSpPr>
          <p:cNvPr id="29" name="Titel 2">
            <a:extLst>
              <a:ext uri="{FF2B5EF4-FFF2-40B4-BE49-F238E27FC236}">
                <a16:creationId xmlns:a16="http://schemas.microsoft.com/office/drawing/2014/main" id="{07DB7A25-2D45-4530-B352-72872D010CD3}"/>
              </a:ext>
            </a:extLst>
          </p:cNvPr>
          <p:cNvSpPr>
            <a:spLocks noGrp="1"/>
          </p:cNvSpPr>
          <p:nvPr>
            <p:ph type="title" hasCustomPrompt="1"/>
          </p:nvPr>
        </p:nvSpPr>
        <p:spPr>
          <a:xfrm>
            <a:off x="828000" y="1204714"/>
            <a:ext cx="4518700" cy="1686263"/>
          </a:xfrm>
        </p:spPr>
        <p:txBody>
          <a:bodyPr anchor="b"/>
          <a:lstStyle>
            <a:lvl1pPr>
              <a:defRPr sz="4000" b="0">
                <a:latin typeface="Gill Sans Nova Light" panose="020B0302020104020203" pitchFamily="34" charset="0"/>
              </a:defRPr>
            </a:lvl1pPr>
          </a:lstStyle>
          <a:p>
            <a:r>
              <a:rPr lang="en-US" noProof="0"/>
              <a:t>Title placeholder</a:t>
            </a:r>
          </a:p>
        </p:txBody>
      </p:sp>
      <p:sp>
        <p:nvSpPr>
          <p:cNvPr id="30" name="Inhaltsplatzhalter 5">
            <a:extLst>
              <a:ext uri="{FF2B5EF4-FFF2-40B4-BE49-F238E27FC236}">
                <a16:creationId xmlns:a16="http://schemas.microsoft.com/office/drawing/2014/main" id="{066A8D03-CD39-4F89-8162-A97B7CF5D95A}"/>
              </a:ext>
            </a:extLst>
          </p:cNvPr>
          <p:cNvSpPr>
            <a:spLocks noGrp="1"/>
          </p:cNvSpPr>
          <p:nvPr>
            <p:ph sz="quarter" idx="11" hasCustomPrompt="1"/>
          </p:nvPr>
        </p:nvSpPr>
        <p:spPr>
          <a:xfrm>
            <a:off x="827999" y="3123866"/>
            <a:ext cx="4518700" cy="1341437"/>
          </a:xfrm>
        </p:spPr>
        <p:txBody>
          <a:bodyPr>
            <a:normAutofit/>
          </a:bodyPr>
          <a:lstStyle>
            <a:lvl1pPr>
              <a:defRPr sz="1600"/>
            </a:lvl1pPr>
          </a:lstStyle>
          <a:p>
            <a:pPr lvl="0"/>
            <a:r>
              <a:rPr lang="en-US" noProof="0"/>
              <a:t>Placeholder for subtitle, contact information, date etc.</a:t>
            </a:r>
          </a:p>
        </p:txBody>
      </p:sp>
      <p:sp>
        <p:nvSpPr>
          <p:cNvPr id="18" name="Bildplatzhalter 17">
            <a:extLst>
              <a:ext uri="{FF2B5EF4-FFF2-40B4-BE49-F238E27FC236}">
                <a16:creationId xmlns:a16="http://schemas.microsoft.com/office/drawing/2014/main" id="{CE66955E-0BC6-4E77-9B70-B03B43501DBC}"/>
              </a:ext>
            </a:extLst>
          </p:cNvPr>
          <p:cNvSpPr>
            <a:spLocks noGrp="1"/>
          </p:cNvSpPr>
          <p:nvPr>
            <p:ph type="pic" sz="quarter" idx="12" hasCustomPrompt="1"/>
          </p:nvPr>
        </p:nvSpPr>
        <p:spPr>
          <a:xfrm>
            <a:off x="5772152" y="428626"/>
            <a:ext cx="3386845" cy="3822698"/>
          </a:xfrm>
          <a:custGeom>
            <a:avLst/>
            <a:gdLst>
              <a:gd name="connsiteX0" fmla="*/ 3386845 w 3386845"/>
              <a:gd name="connsiteY0" fmla="*/ 0 h 3822698"/>
              <a:gd name="connsiteX1" fmla="*/ 3386845 w 3386845"/>
              <a:gd name="connsiteY1" fmla="*/ 3822698 h 3822698"/>
              <a:gd name="connsiteX2" fmla="*/ 3167140 w 3386845"/>
              <a:gd name="connsiteY2" fmla="*/ 3822698 h 3822698"/>
              <a:gd name="connsiteX3" fmla="*/ 467964 w 3386845"/>
              <a:gd name="connsiteY3" fmla="*/ 3582358 h 3822698"/>
              <a:gd name="connsiteX4" fmla="*/ 0 w 3386845"/>
              <a:gd name="connsiteY4" fmla="*/ 873668 h 3822698"/>
              <a:gd name="connsiteX5" fmla="*/ 0 w 3386845"/>
              <a:gd name="connsiteY5" fmla="*/ 844319 h 3822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6845" h="3822698">
                <a:moveTo>
                  <a:pt x="3386845" y="0"/>
                </a:moveTo>
                <a:lnTo>
                  <a:pt x="3386845" y="3822698"/>
                </a:lnTo>
                <a:lnTo>
                  <a:pt x="3167140" y="3822698"/>
                </a:lnTo>
                <a:lnTo>
                  <a:pt x="467964" y="3582358"/>
                </a:lnTo>
                <a:lnTo>
                  <a:pt x="0" y="873668"/>
                </a:lnTo>
                <a:lnTo>
                  <a:pt x="0" y="844319"/>
                </a:lnTo>
                <a:close/>
              </a:path>
            </a:pathLst>
          </a:custGeom>
          <a:pattFill prst="wdUpDiag">
            <a:fgClr>
              <a:schemeClr val="accent1"/>
            </a:fgClr>
            <a:bgClr>
              <a:schemeClr val="bg1"/>
            </a:bgClr>
          </a:pattFill>
        </p:spPr>
        <p:txBody>
          <a:bodyPr wrap="square" anchor="ctr">
            <a:noAutofit/>
          </a:bodyPr>
          <a:lstStyle>
            <a:lvl1pPr algn="ctr">
              <a:defRPr>
                <a:solidFill>
                  <a:schemeClr val="tx1"/>
                </a:solidFill>
              </a:defRPr>
            </a:lvl1pPr>
          </a:lstStyle>
          <a:p>
            <a:r>
              <a:rPr lang="de-DE"/>
              <a:t>(Click </a:t>
            </a:r>
            <a:r>
              <a:rPr lang="de-DE" err="1"/>
              <a:t>to</a:t>
            </a:r>
            <a:r>
              <a:rPr lang="de-DE"/>
              <a:t> </a:t>
            </a:r>
            <a:r>
              <a:rPr lang="de-DE" err="1"/>
              <a:t>add</a:t>
            </a:r>
            <a:r>
              <a:rPr lang="de-DE"/>
              <a:t> a </a:t>
            </a:r>
            <a:r>
              <a:rPr lang="de-DE" err="1"/>
              <a:t>picture</a:t>
            </a:r>
            <a:r>
              <a:rPr lang="de-DE"/>
              <a:t>)</a:t>
            </a:r>
          </a:p>
        </p:txBody>
      </p:sp>
      <p:sp>
        <p:nvSpPr>
          <p:cNvPr id="19" name="TextBox 13">
            <a:extLst>
              <a:ext uri="{FF2B5EF4-FFF2-40B4-BE49-F238E27FC236}">
                <a16:creationId xmlns:a16="http://schemas.microsoft.com/office/drawing/2014/main" id="{7ACC6FF3-DF98-4F66-A5CD-D09A8C963719}"/>
              </a:ext>
            </a:extLst>
          </p:cNvPr>
          <p:cNvSpPr txBox="1"/>
          <p:nvPr/>
        </p:nvSpPr>
        <p:spPr>
          <a:xfrm>
            <a:off x="828000" y="4613375"/>
            <a:ext cx="1997563" cy="153888"/>
          </a:xfrm>
          <a:prstGeom prst="rect">
            <a:avLst/>
          </a:prstGeom>
          <a:noFill/>
        </p:spPr>
        <p:txBody>
          <a:bodyPr wrap="square" lIns="0" tIns="0" rIns="0" bIns="0" rtlCol="0">
            <a:spAutoFit/>
          </a:bodyPr>
          <a:lstStyle/>
          <a:p>
            <a:pPr algn="l"/>
            <a:r>
              <a:rPr lang="en-US" sz="1000" noProof="0">
                <a:solidFill>
                  <a:schemeClr val="tx1"/>
                </a:solidFill>
              </a:rPr>
              <a:t>From insight to impact</a:t>
            </a:r>
          </a:p>
        </p:txBody>
      </p:sp>
      <p:pic>
        <p:nvPicPr>
          <p:cNvPr id="9" name="Rectangle 2" descr="{&quot;templafy&quot;:{&quot;id&quot;:&quot;b9ddadaa-0495-446c-a774-3deec88f84b2&quot;}}">
            <a:extLst>
              <a:ext uri="{FF2B5EF4-FFF2-40B4-BE49-F238E27FC236}">
                <a16:creationId xmlns:a16="http://schemas.microsoft.com/office/drawing/2014/main" id="{98C16689-5F42-4888-9DF2-4ABEA7425116}"/>
              </a:ext>
            </a:extLst>
          </p:cNvPr>
          <p:cNvPicPr>
            <a:picLocks noChangeAspect="1"/>
          </p:cNvPicPr>
          <p:nvPr/>
        </p:nvPicPr>
        <p:blipFill>
          <a:blip r:embed="rId3"/>
          <a:stretch>
            <a:fillRect/>
          </a:stretch>
        </p:blipFill>
        <p:spPr>
          <a:xfrm>
            <a:off x="361173" y="313025"/>
            <a:ext cx="2221200" cy="460800"/>
          </a:xfrm>
          <a:prstGeom prst="rect">
            <a:avLst/>
          </a:prstGeom>
        </p:spPr>
      </p:pic>
    </p:spTree>
    <p:extLst>
      <p:ext uri="{BB962C8B-B14F-4D97-AF65-F5344CB8AC3E}">
        <p14:creationId xmlns:p14="http://schemas.microsoft.com/office/powerpoint/2010/main" val="13445163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0_Agenda">
    <p:bg>
      <p:bgPr>
        <a:solidFill>
          <a:srgbClr val="818284"/>
        </a:solidFill>
        <a:effectLst/>
      </p:bgPr>
    </p:bg>
    <p:spTree>
      <p:nvGrpSpPr>
        <p:cNvPr id="1" name=""/>
        <p:cNvGrpSpPr/>
        <p:nvPr/>
      </p:nvGrpSpPr>
      <p:grpSpPr>
        <a:xfrm>
          <a:off x="0" y="0"/>
          <a:ext cx="0" cy="0"/>
          <a:chOff x="0" y="0"/>
          <a:chExt cx="0" cy="0"/>
        </a:xfrm>
      </p:grpSpPr>
      <p:sp>
        <p:nvSpPr>
          <p:cNvPr id="11" name="Inhaltsplatzhalter 8"/>
          <p:cNvSpPr>
            <a:spLocks noGrp="1"/>
          </p:cNvSpPr>
          <p:nvPr>
            <p:ph sz="quarter" idx="12" hasCustomPrompt="1"/>
          </p:nvPr>
        </p:nvSpPr>
        <p:spPr>
          <a:xfrm>
            <a:off x="359568" y="837316"/>
            <a:ext cx="8640923" cy="3832658"/>
          </a:xfrm>
          <a:prstGeom prst="rect">
            <a:avLst/>
          </a:prstGeom>
          <a:noFill/>
        </p:spPr>
        <p:txBody>
          <a:bodyPr lIns="0" tIns="0" rIns="0" bIns="0"/>
          <a:lstStyle>
            <a:lvl1pPr marL="342900" indent="-342900">
              <a:buClr>
                <a:srgbClr val="FFFFFF"/>
              </a:buClr>
              <a:buSzPct val="120000"/>
              <a:buFont typeface="+mj-lt"/>
              <a:buAutoNum type="arabicPeriod"/>
              <a:defRPr sz="1500" baseline="0">
                <a:solidFill>
                  <a:schemeClr val="tx1"/>
                </a:solidFill>
                <a:latin typeface="Arial" panose="020B0604020202020204" pitchFamily="34" charset="0"/>
                <a:cs typeface="Arial" panose="020B0604020202020204" pitchFamily="34" charset="0"/>
              </a:defRPr>
            </a:lvl1pPr>
            <a:lvl2pPr indent="-216000">
              <a:defRPr>
                <a:latin typeface="Arial" panose="020B0604020202020204" pitchFamily="34" charset="0"/>
                <a:cs typeface="Arial" panose="020B0604020202020204" pitchFamily="34" charset="0"/>
              </a:defRPr>
            </a:lvl2pPr>
            <a:lvl3pPr indent="-189000">
              <a:buClr>
                <a:srgbClr val="00802F"/>
              </a:buClr>
              <a:defRPr>
                <a:latin typeface="Arial" panose="020B0604020202020204" pitchFamily="34" charset="0"/>
                <a:cs typeface="Arial" panose="020B0604020202020204" pitchFamily="34" charset="0"/>
              </a:defRPr>
            </a:lvl3pPr>
            <a:lvl4pPr indent="-189000">
              <a:defRPr sz="1350">
                <a:latin typeface="Arial" panose="020B0604020202020204" pitchFamily="34" charset="0"/>
                <a:cs typeface="Arial" panose="020B0604020202020204" pitchFamily="34" charset="0"/>
              </a:defRPr>
            </a:lvl4pPr>
            <a:lvl5pPr indent="-189000">
              <a:defRPr sz="1350">
                <a:latin typeface="Arial" panose="020B0604020202020204" pitchFamily="34" charset="0"/>
                <a:cs typeface="Arial" panose="020B0604020202020204" pitchFamily="34" charset="0"/>
              </a:defRPr>
            </a:lvl5pPr>
            <a:lvl6pPr indent="-189000">
              <a:defRPr sz="1200" baseline="0"/>
            </a:lvl6pPr>
          </a:lstStyle>
          <a:p>
            <a:pPr lvl="0"/>
            <a:r>
              <a:rPr lang="de-CH"/>
              <a:t>Item</a:t>
            </a:r>
          </a:p>
          <a:p>
            <a:pPr lvl="0"/>
            <a:r>
              <a:rPr lang="de-CH"/>
              <a:t>Item</a:t>
            </a:r>
          </a:p>
          <a:p>
            <a:pPr lvl="0"/>
            <a:r>
              <a:rPr lang="de-CH"/>
              <a:t>Item</a:t>
            </a:r>
          </a:p>
        </p:txBody>
      </p:sp>
      <p:sp>
        <p:nvSpPr>
          <p:cNvPr id="2" name="Titel 1">
            <a:extLst>
              <a:ext uri="{FF2B5EF4-FFF2-40B4-BE49-F238E27FC236}">
                <a16:creationId xmlns:a16="http://schemas.microsoft.com/office/drawing/2014/main" id="{01C2A895-16DA-4C23-AD86-4817FFC92293}"/>
              </a:ext>
            </a:extLst>
          </p:cNvPr>
          <p:cNvSpPr>
            <a:spLocks noGrp="1"/>
          </p:cNvSpPr>
          <p:nvPr>
            <p:ph type="title"/>
          </p:nvPr>
        </p:nvSpPr>
        <p:spPr/>
        <p:txBody>
          <a:bodyPr/>
          <a:lstStyle>
            <a:lvl1pPr>
              <a:defRPr>
                <a:solidFill>
                  <a:schemeClr val="tx1"/>
                </a:solidFill>
              </a:defRPr>
            </a:lvl1pPr>
          </a:lstStyle>
          <a:p>
            <a:r>
              <a:rPr lang="de-DE"/>
              <a:t>Mastertitelformat bearbeiten</a:t>
            </a:r>
          </a:p>
        </p:txBody>
      </p:sp>
      <p:sp>
        <p:nvSpPr>
          <p:cNvPr id="3" name="Datumsplatzhalter 2">
            <a:extLst>
              <a:ext uri="{FF2B5EF4-FFF2-40B4-BE49-F238E27FC236}">
                <a16:creationId xmlns:a16="http://schemas.microsoft.com/office/drawing/2014/main" id="{08C51B3B-648A-4B4E-8ECF-64EBB77FA26F}"/>
              </a:ext>
            </a:extLst>
          </p:cNvPr>
          <p:cNvSpPr>
            <a:spLocks noGrp="1"/>
          </p:cNvSpPr>
          <p:nvPr>
            <p:ph type="dt" sz="half" idx="13"/>
          </p:nvPr>
        </p:nvSpPr>
        <p:spPr/>
        <p:txBody>
          <a:bodyPr/>
          <a:lstStyle>
            <a:lvl1pPr>
              <a:defRPr>
                <a:solidFill>
                  <a:schemeClr val="tx1"/>
                </a:solidFill>
              </a:defRPr>
            </a:lvl1pPr>
          </a:lstStyle>
          <a:p>
            <a:pPr>
              <a:defRPr/>
            </a:pPr>
            <a:r>
              <a:rPr lang="de-DE">
                <a:cs typeface="Arial" panose="020B0604020202020204" pitchFamily="34" charset="0"/>
              </a:rPr>
              <a:t>© Sep-21, SCS-HSG</a:t>
            </a:r>
            <a:endParaRPr lang="en-US">
              <a:cs typeface="Arial" panose="020B0604020202020204" pitchFamily="34" charset="0"/>
            </a:endParaRPr>
          </a:p>
        </p:txBody>
      </p:sp>
      <p:sp>
        <p:nvSpPr>
          <p:cNvPr id="4" name="Foliennummernplatzhalter 3">
            <a:extLst>
              <a:ext uri="{FF2B5EF4-FFF2-40B4-BE49-F238E27FC236}">
                <a16:creationId xmlns:a16="http://schemas.microsoft.com/office/drawing/2014/main" id="{2BB15421-48BB-46F1-84E0-414FC650205F}"/>
              </a:ext>
            </a:extLst>
          </p:cNvPr>
          <p:cNvSpPr>
            <a:spLocks noGrp="1"/>
          </p:cNvSpPr>
          <p:nvPr>
            <p:ph type="sldNum" sz="quarter" idx="14"/>
          </p:nvPr>
        </p:nvSpPr>
        <p:spPr/>
        <p:txBody>
          <a:bodyPr/>
          <a:lstStyle>
            <a:lvl1pPr>
              <a:defRPr>
                <a:solidFill>
                  <a:schemeClr val="tx1"/>
                </a:solidFill>
              </a:defRPr>
            </a:lvl1pPr>
          </a:lstStyle>
          <a:p>
            <a:fld id="{7D77B3A3-157C-467D-BC92-7A7CB5728D67}" type="slidenum">
              <a:rPr lang="de-DE" smtClean="0"/>
              <a:pPr/>
              <a:t>‹#›</a:t>
            </a:fld>
            <a:endParaRPr lang="de-DE"/>
          </a:p>
        </p:txBody>
      </p:sp>
    </p:spTree>
    <p:extLst>
      <p:ext uri="{BB962C8B-B14F-4D97-AF65-F5344CB8AC3E}">
        <p14:creationId xmlns:p14="http://schemas.microsoft.com/office/powerpoint/2010/main" val="3619604451"/>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1_Contact">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BC26FE97-F26B-4E82-A0C3-596FA211B88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8" name="Rechteck 7">
            <a:extLst>
              <a:ext uri="{FF2B5EF4-FFF2-40B4-BE49-F238E27FC236}">
                <a16:creationId xmlns:a16="http://schemas.microsoft.com/office/drawing/2014/main" id="{584A2184-A254-4AC1-9845-4F49D567B0E5}"/>
              </a:ext>
            </a:extLst>
          </p:cNvPr>
          <p:cNvSpPr/>
          <p:nvPr userDrawn="1"/>
        </p:nvSpPr>
        <p:spPr bwMode="auto">
          <a:xfrm>
            <a:off x="6894258" y="3008550"/>
            <a:ext cx="2105677" cy="1237183"/>
          </a:xfrm>
          <a:prstGeom prst="rect">
            <a:avLst/>
          </a:prstGeom>
          <a:solidFill>
            <a:schemeClr val="bg1">
              <a:alpha val="81000"/>
            </a:schemeClr>
          </a:solidFill>
          <a:ln w="28575">
            <a:noFill/>
            <a:miter lim="800000"/>
            <a:headEnd/>
            <a:tailEnd type="none" w="lg" len="med"/>
          </a:ln>
          <a:effectLst>
            <a:outerShdw blurRad="50800" dist="38100" dir="2700000" algn="tl" rotWithShape="0">
              <a:prstClr val="black">
                <a:alpha val="40000"/>
              </a:prstClr>
            </a:outerShdw>
          </a:effectLst>
        </p:spPr>
        <p:txBody>
          <a:bodyPr vert="horz" wrap="none" lIns="0" tIns="0" rIns="0" bIns="0" rtlCol="0" anchor="t">
            <a:normAutofit/>
          </a:bodyPr>
          <a:lstStyle/>
          <a:p>
            <a:pPr lvl="0" indent="0">
              <a:spcBef>
                <a:spcPct val="20000"/>
              </a:spcBef>
              <a:spcAft>
                <a:spcPts val="90"/>
              </a:spcAft>
              <a:buClr>
                <a:srgbClr val="00802F"/>
              </a:buClr>
              <a:buSzPct val="120000"/>
              <a:buFont typeface="Wingdings" pitchFamily="2" charset="2"/>
              <a:buNone/>
            </a:pPr>
            <a:endParaRPr lang="de-DE" sz="788" b="0" i="0" baseline="0">
              <a:latin typeface="+mj-lt"/>
            </a:endParaRP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1582231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343" imgH="330" progId="TCLayout.ActiveDocument.1">
                  <p:embed/>
                </p:oleObj>
              </mc:Choice>
              <mc:Fallback>
                <p:oleObj name="think-cell Slide" r:id="rId4" imgW="343" imgH="33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B58DBE43-68D6-436D-88F1-57620C6ADE94}"/>
              </a:ext>
            </a:extLst>
          </p:cNvPr>
          <p:cNvSpPr>
            <a:spLocks noGrp="1"/>
          </p:cNvSpPr>
          <p:nvPr>
            <p:ph type="title"/>
          </p:nvPr>
        </p:nvSpPr>
        <p:spPr/>
        <p:txBody>
          <a:bodyPr/>
          <a:lstStyle>
            <a:lvl1pPr>
              <a:defRPr>
                <a:solidFill>
                  <a:schemeClr val="bg1"/>
                </a:solidFill>
              </a:defRPr>
            </a:lvl1pPr>
          </a:lstStyle>
          <a:p>
            <a:r>
              <a:rPr lang="de-DE"/>
              <a:t>Mastertitelformat bearbeiten</a:t>
            </a:r>
          </a:p>
        </p:txBody>
      </p:sp>
      <p:pic>
        <p:nvPicPr>
          <p:cNvPr id="19" name="Grafik 18">
            <a:extLst>
              <a:ext uri="{FF2B5EF4-FFF2-40B4-BE49-F238E27FC236}">
                <a16:creationId xmlns:a16="http://schemas.microsoft.com/office/drawing/2014/main" id="{0DAFDAA0-9F23-4913-BF4E-103760105206}"/>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326307" y="4493721"/>
            <a:ext cx="1727696" cy="358829"/>
          </a:xfrm>
          <a:prstGeom prst="rect">
            <a:avLst/>
          </a:prstGeom>
        </p:spPr>
      </p:pic>
      <p:grpSp>
        <p:nvGrpSpPr>
          <p:cNvPr id="10" name="Group 11">
            <a:extLst>
              <a:ext uri="{FF2B5EF4-FFF2-40B4-BE49-F238E27FC236}">
                <a16:creationId xmlns:a16="http://schemas.microsoft.com/office/drawing/2014/main" id="{1ADFCD42-8D0A-4B1B-BA71-131A857C66A1}"/>
              </a:ext>
            </a:extLst>
          </p:cNvPr>
          <p:cNvGrpSpPr/>
          <p:nvPr userDrawn="1"/>
        </p:nvGrpSpPr>
        <p:grpSpPr>
          <a:xfrm>
            <a:off x="4788025" y="4353947"/>
            <a:ext cx="2468477" cy="583143"/>
            <a:chOff x="797910" y="3788080"/>
            <a:chExt cx="3291303" cy="777524"/>
          </a:xfrm>
        </p:grpSpPr>
        <p:pic>
          <p:nvPicPr>
            <p:cNvPr id="12" name="Grafik 11">
              <a:extLst>
                <a:ext uri="{FF2B5EF4-FFF2-40B4-BE49-F238E27FC236}">
                  <a16:creationId xmlns:a16="http://schemas.microsoft.com/office/drawing/2014/main" id="{8E0B8BF8-8CC3-441C-98B1-0C411FFD0BE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360406" y="3821665"/>
              <a:ext cx="513028" cy="710354"/>
            </a:xfrm>
            <a:prstGeom prst="rect">
              <a:avLst/>
            </a:prstGeom>
          </p:spPr>
        </p:pic>
        <p:pic>
          <p:nvPicPr>
            <p:cNvPr id="14" name="Grafik 7">
              <a:extLst>
                <a:ext uri="{FF2B5EF4-FFF2-40B4-BE49-F238E27FC236}">
                  <a16:creationId xmlns:a16="http://schemas.microsoft.com/office/drawing/2014/main" id="{FE47BD31-DC6A-40EA-B8D3-4A0884D5037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492988" y="3900801"/>
              <a:ext cx="596225" cy="552083"/>
            </a:xfrm>
            <a:prstGeom prst="rect">
              <a:avLst/>
            </a:prstGeom>
          </p:spPr>
        </p:pic>
        <p:pic>
          <p:nvPicPr>
            <p:cNvPr id="15" name="Grafik 17">
              <a:extLst>
                <a:ext uri="{FF2B5EF4-FFF2-40B4-BE49-F238E27FC236}">
                  <a16:creationId xmlns:a16="http://schemas.microsoft.com/office/drawing/2014/main" id="{500FA54C-5CF6-491F-A606-038FE5CC3BDD}"/>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97910" y="3788080"/>
              <a:ext cx="1082350" cy="777524"/>
            </a:xfrm>
            <a:prstGeom prst="rect">
              <a:avLst/>
            </a:prstGeom>
          </p:spPr>
        </p:pic>
      </p:grpSp>
      <p:sp>
        <p:nvSpPr>
          <p:cNvPr id="17" name="Content Placeholder 2">
            <a:extLst>
              <a:ext uri="{FF2B5EF4-FFF2-40B4-BE49-F238E27FC236}">
                <a16:creationId xmlns:a16="http://schemas.microsoft.com/office/drawing/2014/main" id="{871D323B-0EDD-4B03-83CD-A49C15F19CBB}"/>
              </a:ext>
            </a:extLst>
          </p:cNvPr>
          <p:cNvSpPr>
            <a:spLocks noGrp="1"/>
          </p:cNvSpPr>
          <p:nvPr>
            <p:ph sz="quarter" idx="13" hasCustomPrompt="1"/>
          </p:nvPr>
        </p:nvSpPr>
        <p:spPr>
          <a:xfrm>
            <a:off x="7385785" y="3585129"/>
            <a:ext cx="1541998" cy="594066"/>
          </a:xfrm>
        </p:spPr>
        <p:txBody>
          <a:bodyPr vert="horz" lIns="0" tIns="0" rIns="0" bIns="0" rtlCol="0">
            <a:noAutofit/>
          </a:bodyPr>
          <a:lstStyle>
            <a:lvl1pPr>
              <a:defRPr lang="de-CH" sz="750" b="1" dirty="0" smtClean="0"/>
            </a:lvl1pPr>
            <a:lvl2pPr>
              <a:defRPr lang="de-CH" sz="750" dirty="0" smtClean="0"/>
            </a:lvl2pPr>
            <a:lvl3pPr>
              <a:defRPr lang="de-CH" sz="750" dirty="0" smtClean="0"/>
            </a:lvl3pPr>
            <a:lvl4pPr>
              <a:defRPr lang="de-CH" sz="750" dirty="0" smtClean="0"/>
            </a:lvl4pPr>
            <a:lvl5pPr>
              <a:defRPr lang="de-CH" sz="750" dirty="0" smtClean="0"/>
            </a:lvl5pPr>
          </a:lstStyle>
          <a:p>
            <a:pPr marL="0" lvl="0" indent="0">
              <a:buNone/>
            </a:pPr>
            <a:r>
              <a:rPr lang="de-CH"/>
              <a:t>&lt;Title&gt; </a:t>
            </a:r>
            <a:r>
              <a:rPr lang="de-CH" err="1"/>
              <a:t>FirstName</a:t>
            </a:r>
            <a:r>
              <a:rPr lang="de-CH"/>
              <a:t> </a:t>
            </a:r>
            <a:r>
              <a:rPr lang="de-CH" err="1"/>
              <a:t>LastName</a:t>
            </a:r>
            <a:endParaRPr lang="de-CH"/>
          </a:p>
          <a:p>
            <a:pPr marL="0" lvl="1" indent="0">
              <a:spcBef>
                <a:spcPts val="0"/>
              </a:spcBef>
              <a:spcAft>
                <a:spcPts val="450"/>
              </a:spcAft>
              <a:buNone/>
            </a:pPr>
            <a:r>
              <a:rPr lang="de-CH" err="1"/>
              <a:t>Function</a:t>
            </a:r>
            <a:endParaRPr lang="de-CH"/>
          </a:p>
          <a:p>
            <a:pPr marL="0" lvl="2" indent="0">
              <a:spcBef>
                <a:spcPts val="0"/>
              </a:spcBef>
              <a:spcAft>
                <a:spcPts val="0"/>
              </a:spcAft>
              <a:buNone/>
            </a:pPr>
            <a:r>
              <a:rPr lang="de-CH"/>
              <a:t>firstname.lastname@unisg.ch</a:t>
            </a:r>
          </a:p>
          <a:p>
            <a:pPr marL="0" lvl="3" indent="0">
              <a:spcBef>
                <a:spcPts val="0"/>
              </a:spcBef>
              <a:spcAft>
                <a:spcPts val="0"/>
              </a:spcAft>
              <a:buNone/>
            </a:pPr>
            <a:r>
              <a:rPr lang="de-CH"/>
              <a:t>www.iwi.unisg.ch</a:t>
            </a:r>
          </a:p>
          <a:p>
            <a:pPr marL="0" lvl="4" indent="0">
              <a:spcBef>
                <a:spcPts val="0"/>
              </a:spcBef>
              <a:buNone/>
            </a:pPr>
            <a:r>
              <a:rPr lang="de-CH"/>
              <a:t>+41 71 224 </a:t>
            </a:r>
            <a:r>
              <a:rPr lang="de-CH" err="1"/>
              <a:t>xxxx</a:t>
            </a:r>
            <a:endParaRPr lang="de-CH" sz="900"/>
          </a:p>
        </p:txBody>
      </p:sp>
      <p:pic>
        <p:nvPicPr>
          <p:cNvPr id="13" name="Rectangle 2" descr="{&quot;templafy&quot;:{&quot;id&quot;:&quot;b9ddadaa-0495-446c-a774-3deec88f84b2&quot;}}">
            <a:extLst>
              <a:ext uri="{FF2B5EF4-FFF2-40B4-BE49-F238E27FC236}">
                <a16:creationId xmlns:a16="http://schemas.microsoft.com/office/drawing/2014/main" id="{075F9713-6868-46DE-BB5A-9534703D42E8}"/>
              </a:ext>
            </a:extLst>
          </p:cNvPr>
          <p:cNvPicPr>
            <a:picLocks noChangeAspect="1"/>
          </p:cNvPicPr>
          <p:nvPr userDrawn="1"/>
        </p:nvPicPr>
        <p:blipFill>
          <a:blip r:embed="rId10"/>
          <a:stretch>
            <a:fillRect/>
          </a:stretch>
        </p:blipFill>
        <p:spPr>
          <a:xfrm>
            <a:off x="7063809" y="3192183"/>
            <a:ext cx="1397480" cy="289915"/>
          </a:xfrm>
          <a:prstGeom prst="rect">
            <a:avLst/>
          </a:prstGeom>
        </p:spPr>
      </p:pic>
    </p:spTree>
    <p:extLst>
      <p:ext uri="{BB962C8B-B14F-4D97-AF65-F5344CB8AC3E}">
        <p14:creationId xmlns:p14="http://schemas.microsoft.com/office/powerpoint/2010/main" val="10217434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Agenda">
    <p:spTree>
      <p:nvGrpSpPr>
        <p:cNvPr id="1" name=""/>
        <p:cNvGrpSpPr/>
        <p:nvPr/>
      </p:nvGrpSpPr>
      <p:grpSpPr>
        <a:xfrm>
          <a:off x="0" y="0"/>
          <a:ext cx="0" cy="0"/>
          <a:chOff x="0" y="0"/>
          <a:chExt cx="0" cy="0"/>
        </a:xfrm>
      </p:grpSpPr>
      <p:pic>
        <p:nvPicPr>
          <p:cNvPr id="12" name="Picture 11" descr="A picture containing skating, building, ramp, board&#10;&#10;Description automatically generated">
            <a:extLst>
              <a:ext uri="{FF2B5EF4-FFF2-40B4-BE49-F238E27FC236}">
                <a16:creationId xmlns:a16="http://schemas.microsoft.com/office/drawing/2014/main" id="{71655C6F-D683-4181-8A76-C2CF9E2F41CB}"/>
              </a:ext>
            </a:extLst>
          </p:cNvPr>
          <p:cNvPicPr>
            <a:picLocks noChangeAspect="1"/>
          </p:cNvPicPr>
          <p:nvPr/>
        </p:nvPicPr>
        <p:blipFill rotWithShape="1">
          <a:blip r:embed="rId2">
            <a:extLst>
              <a:ext uri="{28A0092B-C50C-407E-A947-70E740481C1C}">
                <a14:useLocalDpi xmlns:a14="http://schemas.microsoft.com/office/drawing/2010/main" val="0"/>
              </a:ext>
            </a:extLst>
          </a:blip>
          <a:srcRect r="58763"/>
          <a:stretch/>
        </p:blipFill>
        <p:spPr>
          <a:xfrm>
            <a:off x="5963683" y="0"/>
            <a:ext cx="3180318" cy="5143500"/>
          </a:xfrm>
          <a:prstGeom prst="rect">
            <a:avLst/>
          </a:prstGeom>
        </p:spPr>
      </p:pic>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 Placeholder 4">
            <a:extLst>
              <a:ext uri="{FF2B5EF4-FFF2-40B4-BE49-F238E27FC236}">
                <a16:creationId xmlns:a16="http://schemas.microsoft.com/office/drawing/2014/main" id="{47F3237B-A6D8-401E-A0E8-75ED37DDC0FA}"/>
              </a:ext>
            </a:extLst>
          </p:cNvPr>
          <p:cNvSpPr>
            <a:spLocks noGrp="1"/>
          </p:cNvSpPr>
          <p:nvPr>
            <p:ph type="body" sz="quarter" idx="13" hasCustomPrompt="1"/>
          </p:nvPr>
        </p:nvSpPr>
        <p:spPr>
          <a:xfrm>
            <a:off x="358775" y="1276350"/>
            <a:ext cx="5292724" cy="3203575"/>
          </a:xfrm>
        </p:spPr>
        <p:txBody>
          <a:bodyPr>
            <a:normAutofit/>
          </a:bodyPr>
          <a:lstStyle>
            <a:lvl1pPr marL="396000" indent="-396000">
              <a:spcAft>
                <a:spcPts val="600"/>
              </a:spcAft>
              <a:buFont typeface="+mj-lt"/>
              <a:buAutoNum type="arabicPeriod"/>
              <a:defRPr sz="1600"/>
            </a:lvl1pPr>
            <a:lvl2pPr marL="342900" indent="-342900">
              <a:spcAft>
                <a:spcPts val="600"/>
              </a:spcAft>
              <a:buFont typeface="+mj-lt"/>
              <a:buAutoNum type="arabicPeriod"/>
              <a:defRPr sz="1600"/>
            </a:lvl2pPr>
            <a:lvl3pPr marL="342900" indent="-342900">
              <a:spcAft>
                <a:spcPts val="600"/>
              </a:spcAft>
              <a:buFont typeface="+mj-lt"/>
              <a:buAutoNum type="arabicPeriod"/>
              <a:defRPr sz="1600"/>
            </a:lvl3pPr>
            <a:lvl4pPr marL="342900" indent="-342900">
              <a:spcAft>
                <a:spcPts val="600"/>
              </a:spcAft>
              <a:buFont typeface="+mj-lt"/>
              <a:buAutoNum type="arabicPeriod"/>
              <a:defRPr sz="1600"/>
            </a:lvl4pPr>
            <a:lvl5pPr marL="342900" indent="-342900">
              <a:spcAft>
                <a:spcPts val="600"/>
              </a:spcAft>
              <a:buFont typeface="+mj-lt"/>
              <a:buAutoNum type="arabicPeriod"/>
              <a:defRPr sz="1600"/>
            </a:lvl5pPr>
          </a:lstStyle>
          <a:p>
            <a:pPr lvl="0"/>
            <a:r>
              <a:rPr lang="de-DE"/>
              <a:t>First item</a:t>
            </a:r>
          </a:p>
        </p:txBody>
      </p:sp>
      <p:sp>
        <p:nvSpPr>
          <p:cNvPr id="6" name="Slide Number Placeholder 5">
            <a:extLst>
              <a:ext uri="{FF2B5EF4-FFF2-40B4-BE49-F238E27FC236}">
                <a16:creationId xmlns:a16="http://schemas.microsoft.com/office/drawing/2014/main" id="{8E64CDDE-58C2-4810-8B30-D17CF249E28D}"/>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1936974457" name="Rectangle 10" descr="{&quot;templafy&quot;:{&quot;id&quot;:&quot;983d3f15-dbac-4adc-ac60-bc0247138669&quot;}}" hidden="1"/>
          <p:cNvPicPr>
            <a:picLocks noChangeAspect="1"/>
          </p:cNvPicPr>
          <p:nvPr/>
        </p:nvPicPr>
        <p:blipFill>
          <a:blip r:embed="rId3"/>
          <a:stretch>
            <a:fillRect/>
          </a:stretch>
        </p:blipFill>
        <p:spPr>
          <a:xfrm>
            <a:off x="358775" y="4668427"/>
            <a:ext cx="1036800" cy="306000"/>
          </a:xfrm>
          <a:prstGeom prst="rect">
            <a:avLst/>
          </a:prstGeom>
        </p:spPr>
      </p:pic>
      <p:sp>
        <p:nvSpPr>
          <p:cNvPr id="3" name="Titel 2">
            <a:extLst>
              <a:ext uri="{FF2B5EF4-FFF2-40B4-BE49-F238E27FC236}">
                <a16:creationId xmlns:a16="http://schemas.microsoft.com/office/drawing/2014/main" id="{AF9D94E7-5503-4A78-9A9D-3BC60709B29E}"/>
              </a:ext>
            </a:extLst>
          </p:cNvPr>
          <p:cNvSpPr>
            <a:spLocks noGrp="1"/>
          </p:cNvSpPr>
          <p:nvPr>
            <p:ph type="title" hasCustomPrompt="1"/>
          </p:nvPr>
        </p:nvSpPr>
        <p:spPr>
          <a:xfrm>
            <a:off x="358775" y="376238"/>
            <a:ext cx="5292725" cy="609662"/>
          </a:xfrm>
        </p:spPr>
        <p:txBody>
          <a:bodyPr anchor="t"/>
          <a:lstStyle>
            <a:lvl1pPr>
              <a:defRPr>
                <a:latin typeface="+mj-lt"/>
              </a:defRPr>
            </a:lvl1pPr>
          </a:lstStyle>
          <a:p>
            <a:r>
              <a:rPr lang="en-US" noProof="0"/>
              <a:t>Agenda Title placeholder</a:t>
            </a:r>
          </a:p>
        </p:txBody>
      </p:sp>
      <p:sp>
        <p:nvSpPr>
          <p:cNvPr id="10" name="Date Placeholder 3">
            <a:extLst>
              <a:ext uri="{FF2B5EF4-FFF2-40B4-BE49-F238E27FC236}">
                <a16:creationId xmlns:a16="http://schemas.microsoft.com/office/drawing/2014/main" id="{7A444DF1-FB08-4892-B960-CC1A107898AA}"/>
              </a:ext>
            </a:extLst>
          </p:cNvPr>
          <p:cNvSpPr>
            <a:spLocks noGrp="1"/>
          </p:cNvSpPr>
          <p:nvPr>
            <p:ph type="dt" sz="half" idx="2"/>
          </p:nvPr>
        </p:nvSpPr>
        <p:spPr>
          <a:xfrm>
            <a:off x="3647143" y="4767262"/>
            <a:ext cx="2004356" cy="184335"/>
          </a:xfrm>
          <a:prstGeom prst="rect">
            <a:avLst/>
          </a:prstGeom>
        </p:spPr>
        <p:txBody>
          <a:bodyPr/>
          <a:lstStyle>
            <a:lvl1pPr algn="r">
              <a:defRPr sz="800"/>
            </a:lvl1pPr>
          </a:lstStyle>
          <a:p>
            <a:fld id="{B57B5CD7-A0CA-4D38-BBC7-2C00C2D8EDD2}" type="datetime6">
              <a:rPr lang="de-CH" smtClean="0"/>
              <a:t>Mai 23</a:t>
            </a:fld>
            <a:endParaRPr lang="de-DE"/>
          </a:p>
        </p:txBody>
      </p:sp>
      <p:pic>
        <p:nvPicPr>
          <p:cNvPr id="13" name="Rectangle 11" descr="{&quot;templafy&quot;:{&quot;id&quot;:&quot;132fdc2d-0d58-46db-a0cb-916ce7270cac&quot;}}">
            <a:extLst>
              <a:ext uri="{FF2B5EF4-FFF2-40B4-BE49-F238E27FC236}">
                <a16:creationId xmlns:a16="http://schemas.microsoft.com/office/drawing/2014/main" id="{BBAB33F5-93EF-4448-89CD-5EFFC7AC047E}"/>
              </a:ext>
            </a:extLst>
          </p:cNvPr>
          <p:cNvPicPr>
            <a:picLocks noChangeAspect="1"/>
          </p:cNvPicPr>
          <p:nvPr userDrawn="1"/>
        </p:nvPicPr>
        <p:blipFill>
          <a:blip r:embed="rId4"/>
          <a:stretch>
            <a:fillRect/>
          </a:stretch>
        </p:blipFill>
        <p:spPr>
          <a:xfrm>
            <a:off x="356400" y="4704059"/>
            <a:ext cx="1026000" cy="212400"/>
          </a:xfrm>
          <a:prstGeom prst="rect">
            <a:avLst/>
          </a:prstGeom>
        </p:spPr>
      </p:pic>
    </p:spTree>
    <p:extLst>
      <p:ext uri="{BB962C8B-B14F-4D97-AF65-F5344CB8AC3E}">
        <p14:creationId xmlns:p14="http://schemas.microsoft.com/office/powerpoint/2010/main" val="23413945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Kapiteltrenner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4B88CA-EB6E-49E8-8E20-86448C5223EB}"/>
              </a:ext>
            </a:extLst>
          </p:cNvPr>
          <p:cNvSpPr>
            <a:spLocks noGrp="1"/>
          </p:cNvSpPr>
          <p:nvPr>
            <p:ph type="title" hasCustomPrompt="1"/>
          </p:nvPr>
        </p:nvSpPr>
        <p:spPr>
          <a:xfrm>
            <a:off x="1548000" y="376238"/>
            <a:ext cx="7237225" cy="2496171"/>
          </a:xfrm>
        </p:spPr>
        <p:txBody>
          <a:bodyPr anchor="b">
            <a:normAutofit/>
          </a:bodyPr>
          <a:lstStyle>
            <a:lvl1pPr marL="0" indent="0" algn="l">
              <a:lnSpc>
                <a:spcPts val="5200"/>
              </a:lnSpc>
              <a:buFont typeface="+mj-lt"/>
              <a:buNone/>
              <a:defRPr sz="5000">
                <a:solidFill>
                  <a:schemeClr val="bg2"/>
                </a:solidFill>
                <a:latin typeface="Gill Sans Nova Light" panose="020B0302020104020203" pitchFamily="34" charset="0"/>
              </a:defRPr>
            </a:lvl1pPr>
          </a:lstStyle>
          <a:p>
            <a:r>
              <a:rPr lang="en-US" noProof="0"/>
              <a:t>Section Title placeholder</a:t>
            </a:r>
          </a:p>
        </p:txBody>
      </p:sp>
      <p:sp>
        <p:nvSpPr>
          <p:cNvPr id="3" name="Text Placeholder 2">
            <a:extLst>
              <a:ext uri="{FF2B5EF4-FFF2-40B4-BE49-F238E27FC236}">
                <a16:creationId xmlns:a16="http://schemas.microsoft.com/office/drawing/2014/main" id="{93182261-379D-435B-BB30-A2A9B6CF3E6F}"/>
              </a:ext>
            </a:extLst>
          </p:cNvPr>
          <p:cNvSpPr>
            <a:spLocks noGrp="1"/>
          </p:cNvSpPr>
          <p:nvPr>
            <p:ph type="body" idx="1" hasCustomPrompt="1"/>
          </p:nvPr>
        </p:nvSpPr>
        <p:spPr>
          <a:xfrm>
            <a:off x="1548000" y="3001618"/>
            <a:ext cx="6025617" cy="1478308"/>
          </a:xfrm>
        </p:spPr>
        <p:txBody>
          <a:bodyPr>
            <a:normAutofit/>
          </a:bodyPr>
          <a:lstStyle>
            <a:lvl1pPr marL="0" indent="0">
              <a:buNone/>
              <a:defRPr sz="2400">
                <a:solidFill>
                  <a:schemeClr val="bg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Sub-section Title placeholder</a:t>
            </a:r>
          </a:p>
        </p:txBody>
      </p:sp>
      <p:sp>
        <p:nvSpPr>
          <p:cNvPr id="4" name="Freeform: Shape 3">
            <a:extLst>
              <a:ext uri="{FF2B5EF4-FFF2-40B4-BE49-F238E27FC236}">
                <a16:creationId xmlns:a16="http://schemas.microsoft.com/office/drawing/2014/main" id="{AA3A5247-554A-42FF-BCCF-A11D65465AA4}"/>
              </a:ext>
            </a:extLst>
          </p:cNvPr>
          <p:cNvSpPr>
            <a:spLocks noChangeAspect="1"/>
          </p:cNvSpPr>
          <p:nvPr/>
        </p:nvSpPr>
        <p:spPr>
          <a:xfrm>
            <a:off x="4572001" y="3166310"/>
            <a:ext cx="4572000" cy="5009983"/>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8672474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Kapiteltrenner 2">
    <p:bg>
      <p:bgPr>
        <a:solidFill>
          <a:schemeClr val="bg2"/>
        </a:solidFill>
        <a:effectLst/>
      </p:bgPr>
    </p:bg>
    <p:spTree>
      <p:nvGrpSpPr>
        <p:cNvPr id="1" name=""/>
        <p:cNvGrpSpPr/>
        <p:nvPr/>
      </p:nvGrpSpPr>
      <p:grpSpPr>
        <a:xfrm>
          <a:off x="0" y="0"/>
          <a:ext cx="0" cy="0"/>
          <a:chOff x="0" y="0"/>
          <a:chExt cx="0" cy="0"/>
        </a:xfrm>
      </p:grpSpPr>
      <p:sp>
        <p:nvSpPr>
          <p:cNvPr id="4" name="Picture Placeholder 4">
            <a:extLst>
              <a:ext uri="{FF2B5EF4-FFF2-40B4-BE49-F238E27FC236}">
                <a16:creationId xmlns:a16="http://schemas.microsoft.com/office/drawing/2014/main" id="{DC68F798-C07C-4BF8-8573-0552735B83EA}"/>
              </a:ext>
            </a:extLst>
          </p:cNvPr>
          <p:cNvSpPr>
            <a:spLocks noGrp="1"/>
          </p:cNvSpPr>
          <p:nvPr>
            <p:ph type="pic" sz="quarter" idx="11" hasCustomPrompt="1"/>
          </p:nvPr>
        </p:nvSpPr>
        <p:spPr>
          <a:xfrm>
            <a:off x="0" y="0"/>
            <a:ext cx="9144000" cy="5143500"/>
          </a:xfrm>
          <a:pattFill prst="wdUpDiag">
            <a:fgClr>
              <a:schemeClr val="accent1"/>
            </a:fgClr>
            <a:bgClr>
              <a:schemeClr val="bg1"/>
            </a:bgClr>
          </a:pattFill>
        </p:spPr>
        <p:txBody>
          <a:bodyPr lIns="180000" tIns="180000"/>
          <a:lstStyle>
            <a:lvl1pPr>
              <a:defRPr>
                <a:solidFill>
                  <a:schemeClr val="tx1"/>
                </a:solidFill>
              </a:defRPr>
            </a:lvl1pPr>
          </a:lstStyle>
          <a:p>
            <a:r>
              <a:rPr lang="en-US" noProof="0"/>
              <a:t>(click to add a picture)</a:t>
            </a:r>
          </a:p>
        </p:txBody>
      </p:sp>
      <p:sp>
        <p:nvSpPr>
          <p:cNvPr id="5" name="Title 1">
            <a:extLst>
              <a:ext uri="{FF2B5EF4-FFF2-40B4-BE49-F238E27FC236}">
                <a16:creationId xmlns:a16="http://schemas.microsoft.com/office/drawing/2014/main" id="{1086A8A6-B06D-46A2-BCC7-BE87EF4B4819}"/>
              </a:ext>
            </a:extLst>
          </p:cNvPr>
          <p:cNvSpPr>
            <a:spLocks noGrp="1"/>
          </p:cNvSpPr>
          <p:nvPr>
            <p:ph type="title" hasCustomPrompt="1"/>
          </p:nvPr>
        </p:nvSpPr>
        <p:spPr>
          <a:xfrm>
            <a:off x="1548000" y="376238"/>
            <a:ext cx="7237225" cy="2496171"/>
          </a:xfrm>
        </p:spPr>
        <p:txBody>
          <a:bodyPr anchor="b">
            <a:normAutofit/>
          </a:bodyPr>
          <a:lstStyle>
            <a:lvl1pPr marL="0" indent="0" algn="l">
              <a:lnSpc>
                <a:spcPts val="5200"/>
              </a:lnSpc>
              <a:buFont typeface="+mj-lt"/>
              <a:buNone/>
              <a:defRPr sz="5000">
                <a:solidFill>
                  <a:schemeClr val="tx1"/>
                </a:solidFill>
                <a:latin typeface="Gill Sans Nova Light" panose="020B0302020104020203" pitchFamily="34" charset="0"/>
              </a:defRPr>
            </a:lvl1pPr>
          </a:lstStyle>
          <a:p>
            <a:r>
              <a:rPr lang="en-US" noProof="0"/>
              <a:t>Section Title placeholder</a:t>
            </a:r>
          </a:p>
        </p:txBody>
      </p:sp>
      <p:sp>
        <p:nvSpPr>
          <p:cNvPr id="6" name="Text Placeholder 2">
            <a:extLst>
              <a:ext uri="{FF2B5EF4-FFF2-40B4-BE49-F238E27FC236}">
                <a16:creationId xmlns:a16="http://schemas.microsoft.com/office/drawing/2014/main" id="{3046345E-A7CE-41CD-A50F-C13F46D29924}"/>
              </a:ext>
            </a:extLst>
          </p:cNvPr>
          <p:cNvSpPr>
            <a:spLocks noGrp="1"/>
          </p:cNvSpPr>
          <p:nvPr>
            <p:ph type="body" idx="1" hasCustomPrompt="1"/>
          </p:nvPr>
        </p:nvSpPr>
        <p:spPr>
          <a:xfrm>
            <a:off x="1548000" y="3001618"/>
            <a:ext cx="6025617" cy="1478308"/>
          </a:xfrm>
        </p:spPr>
        <p:txBody>
          <a:bodyPr>
            <a:normAutofit/>
          </a:bodyPr>
          <a:lstStyle>
            <a:lvl1pPr marL="0" indent="0">
              <a:buNone/>
              <a:defRPr sz="24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Sub-section Title placeholder</a:t>
            </a:r>
          </a:p>
        </p:txBody>
      </p:sp>
    </p:spTree>
    <p:extLst>
      <p:ext uri="{BB962C8B-B14F-4D97-AF65-F5344CB8AC3E}">
        <p14:creationId xmlns:p14="http://schemas.microsoft.com/office/powerpoint/2010/main" val="22511387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30B763E8-28A5-4C06-8953-D607A4035193}" type="datetime6">
              <a:rPr lang="de-CH" smtClean="0"/>
              <a:t>Mai 23</a:t>
            </a:fld>
            <a:endParaRPr lang="de-DE"/>
          </a:p>
        </p:txBody>
      </p:sp>
    </p:spTree>
    <p:extLst>
      <p:ext uri="{BB962C8B-B14F-4D97-AF65-F5344CB8AC3E}">
        <p14:creationId xmlns:p14="http://schemas.microsoft.com/office/powerpoint/2010/main" val="31465520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9D665AE-2099-47EB-8D1F-2B3FCA7D9E11}" type="datetime6">
              <a:rPr lang="de-CH" smtClean="0"/>
              <a:t>Mai 23</a:t>
            </a:fld>
            <a:endParaRPr lang="de-DE"/>
          </a:p>
        </p:txBody>
      </p:sp>
      <p:sp>
        <p:nvSpPr>
          <p:cNvPr id="9" name="Textplatzhalter 3">
            <a:extLst>
              <a:ext uri="{FF2B5EF4-FFF2-40B4-BE49-F238E27FC236}">
                <a16:creationId xmlns:a16="http://schemas.microsoft.com/office/drawing/2014/main" id="{9FB05968-50B4-4E34-B7B1-EF5B02AE6127}"/>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41541113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a:xfrm>
            <a:off x="358775" y="1276350"/>
            <a:ext cx="8426450" cy="2556921"/>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970FC134-CD77-4207-856E-804B9B6F6655}" type="datetime6">
              <a:rPr lang="de-CH" smtClean="0"/>
              <a:t>Mai 23</a:t>
            </a:fld>
            <a:endParaRPr lang="de-DE"/>
          </a:p>
        </p:txBody>
      </p:sp>
      <p:sp>
        <p:nvSpPr>
          <p:cNvPr id="9" name="Textplatzhalter 3">
            <a:extLst>
              <a:ext uri="{FF2B5EF4-FFF2-40B4-BE49-F238E27FC236}">
                <a16:creationId xmlns:a16="http://schemas.microsoft.com/office/drawing/2014/main" id="{9FB05968-50B4-4E34-B7B1-EF5B02AE6127}"/>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1" name="Textplatzhalter 6">
            <a:extLst>
              <a:ext uri="{FF2B5EF4-FFF2-40B4-BE49-F238E27FC236}">
                <a16:creationId xmlns:a16="http://schemas.microsoft.com/office/drawing/2014/main" id="{53049159-3887-46EA-B4CA-459B82DE6041}"/>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2" name="Inhaltsplatzhalter 16">
            <a:extLst>
              <a:ext uri="{FF2B5EF4-FFF2-40B4-BE49-F238E27FC236}">
                <a16:creationId xmlns:a16="http://schemas.microsoft.com/office/drawing/2014/main" id="{2573B565-8F94-4F75-8571-779016BEE601}"/>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22355692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2501321-794C-47B8-ABDC-7DAF88C9DC68}"/>
              </a:ext>
            </a:extLst>
          </p:cNvPr>
          <p:cNvSpPr>
            <a:spLocks noGrp="1"/>
          </p:cNvSpPr>
          <p:nvPr>
            <p:ph type="title"/>
          </p:nvPr>
        </p:nvSpPr>
        <p:spPr>
          <a:xfrm>
            <a:off x="358775" y="376238"/>
            <a:ext cx="8426450" cy="609662"/>
          </a:xfrm>
          <a:prstGeom prst="rect">
            <a:avLst/>
          </a:prstGeom>
        </p:spPr>
        <p:txBody>
          <a:bodyPr vert="horz" lIns="0" tIns="0" rIns="0" bIns="0" rtlCol="0" anchor="t">
            <a:noAutofit/>
          </a:bodyPr>
          <a:lstStyle/>
          <a:p>
            <a:r>
              <a:rPr lang="en-US" noProof="0"/>
              <a:t>Placeholder for a Title</a:t>
            </a:r>
          </a:p>
        </p:txBody>
      </p:sp>
      <p:sp>
        <p:nvSpPr>
          <p:cNvPr id="3" name="Text Placeholder 2">
            <a:extLst>
              <a:ext uri="{FF2B5EF4-FFF2-40B4-BE49-F238E27FC236}">
                <a16:creationId xmlns:a16="http://schemas.microsoft.com/office/drawing/2014/main" id="{076F94A2-50F8-430F-B46C-2D50472D7A69}"/>
              </a:ext>
            </a:extLst>
          </p:cNvPr>
          <p:cNvSpPr>
            <a:spLocks noGrp="1"/>
          </p:cNvSpPr>
          <p:nvPr>
            <p:ph type="body" idx="1"/>
          </p:nvPr>
        </p:nvSpPr>
        <p:spPr>
          <a:xfrm>
            <a:off x="358775" y="1276350"/>
            <a:ext cx="8426450" cy="3203575"/>
          </a:xfrm>
          <a:prstGeom prst="rect">
            <a:avLst/>
          </a:prstGeom>
        </p:spPr>
        <p:txBody>
          <a:bodyPr vert="horz" lIns="0" tIns="0" rIns="0" bIns="0" rtlCol="0">
            <a:normAutofit/>
          </a:bodyPr>
          <a:lstStyle/>
          <a:p>
            <a:pPr marL="180000" lvl="1" indent="-180000" algn="l" defTabSz="685800" rtl="0" eaLnBrk="1" latinLnBrk="0" hangingPunct="1">
              <a:lnSpc>
                <a:spcPct val="100000"/>
              </a:lnSpc>
              <a:spcBef>
                <a:spcPts val="0"/>
              </a:spcBef>
              <a:spcAft>
                <a:spcPts val="400"/>
              </a:spcAft>
              <a:buFont typeface="Arial" panose="020B0604020202020204" pitchFamily="34" charset="0"/>
              <a:buChar char="‒"/>
            </a:pPr>
            <a:r>
              <a:rPr lang="de-DE"/>
              <a:t>Mastertextformat bearbeiten</a:t>
            </a:r>
          </a:p>
          <a:p>
            <a:pPr marL="358775" lvl="2" indent="-179388" algn="l" defTabSz="685800" rtl="0" eaLnBrk="1" latinLnBrk="0" hangingPunct="1">
              <a:lnSpc>
                <a:spcPct val="100000"/>
              </a:lnSpc>
              <a:spcBef>
                <a:spcPts val="0"/>
              </a:spcBef>
              <a:spcAft>
                <a:spcPts val="400"/>
              </a:spcAft>
              <a:buFont typeface="Arial" panose="020B0604020202020204" pitchFamily="34" charset="0"/>
              <a:buChar char="•"/>
            </a:pPr>
            <a:r>
              <a:rPr lang="de-DE"/>
              <a:t>Zweite Ebene</a:t>
            </a:r>
          </a:p>
          <a:p>
            <a:pPr marL="539750" lvl="3" indent="-179388" algn="l" defTabSz="685800" rtl="0" eaLnBrk="1" latinLnBrk="0" hangingPunct="1">
              <a:lnSpc>
                <a:spcPct val="100000"/>
              </a:lnSpc>
              <a:spcBef>
                <a:spcPts val="0"/>
              </a:spcBef>
              <a:spcAft>
                <a:spcPts val="400"/>
              </a:spcAft>
              <a:buSzPct val="110000"/>
              <a:buFont typeface="Arial" panose="020B0604020202020204" pitchFamily="34" charset="0"/>
              <a:buChar char="◦"/>
            </a:pPr>
            <a:r>
              <a:rPr lang="de-DE"/>
              <a:t>Dritte Ebene</a:t>
            </a:r>
          </a:p>
          <a:p>
            <a:pPr marL="717550" lvl="4" indent="-179388" algn="l" defTabSz="685800" rtl="0" eaLnBrk="1" latinLnBrk="0" hangingPunct="1">
              <a:lnSpc>
                <a:spcPct val="100000"/>
              </a:lnSpc>
              <a:spcBef>
                <a:spcPts val="0"/>
              </a:spcBef>
              <a:spcAft>
                <a:spcPts val="400"/>
              </a:spcAft>
              <a:buSzPct val="110000"/>
              <a:buFont typeface="Arial" panose="020B0604020202020204" pitchFamily="34" charset="0"/>
              <a:buChar char="◦"/>
            </a:pPr>
            <a:r>
              <a:rPr lang="de-DE"/>
              <a:t>Vierte Ebene</a:t>
            </a:r>
          </a:p>
          <a:p>
            <a:pPr lvl="4"/>
            <a:r>
              <a:rPr lang="de-DE"/>
              <a:t>Fünfte Ebene</a:t>
            </a:r>
            <a:endParaRPr lang="en-GB"/>
          </a:p>
          <a:p>
            <a:pPr lvl="4"/>
            <a:endParaRPr lang="en-US" noProof="0"/>
          </a:p>
        </p:txBody>
      </p:sp>
      <p:sp>
        <p:nvSpPr>
          <p:cNvPr id="7" name="Freeform: Shape 6">
            <a:extLst>
              <a:ext uri="{FF2B5EF4-FFF2-40B4-BE49-F238E27FC236}">
                <a16:creationId xmlns:a16="http://schemas.microsoft.com/office/drawing/2014/main" id="{59E8F5F7-0767-41DB-A7E9-38E2EEF730E1}"/>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Slide Number Placeholder 5">
            <a:extLst>
              <a:ext uri="{FF2B5EF4-FFF2-40B4-BE49-F238E27FC236}">
                <a16:creationId xmlns:a16="http://schemas.microsoft.com/office/drawing/2014/main" id="{7A26C2A0-BCAA-4FD2-BD67-F5225215B65D}"/>
              </a:ext>
            </a:extLst>
          </p:cNvPr>
          <p:cNvSpPr>
            <a:spLocks noGrp="1"/>
          </p:cNvSpPr>
          <p:nvPr>
            <p:ph type="sldNum" sz="quarter" idx="4"/>
          </p:nvPr>
        </p:nvSpPr>
        <p:spPr>
          <a:xfrm>
            <a:off x="8571600" y="4767263"/>
            <a:ext cx="216000" cy="273844"/>
          </a:xfrm>
          <a:prstGeom prst="rect">
            <a:avLst/>
          </a:prstGeom>
        </p:spPr>
        <p:txBody>
          <a:bodyPr vert="horz" lIns="0" tIns="0" rIns="0" bIns="0" rtlCol="0" anchor="t"/>
          <a:lstStyle>
            <a:lvl1pPr algn="ctr">
              <a:defRPr sz="800" spc="-30" baseline="0">
                <a:solidFill>
                  <a:schemeClr val="bg2"/>
                </a:solidFill>
              </a:defRPr>
            </a:lvl1pPr>
          </a:lstStyle>
          <a:p>
            <a:fld id="{7559FC98-AF75-4A00-A03C-DF9FEBF6BCB9}" type="slidenum">
              <a:rPr lang="en-GB" smtClean="0"/>
              <a:pPr/>
              <a:t>‹#›</a:t>
            </a:fld>
            <a:endParaRPr lang="en-GB"/>
          </a:p>
        </p:txBody>
      </p:sp>
      <p:pic>
        <p:nvPicPr>
          <p:cNvPr id="8" name="Rectangle 11" descr="{&quot;templafy&quot;:{&quot;id&quot;:&quot;132fdc2d-0d58-46db-a0cb-916ce7270cac&quot;}}">
            <a:extLst>
              <a:ext uri="{FF2B5EF4-FFF2-40B4-BE49-F238E27FC236}">
                <a16:creationId xmlns:a16="http://schemas.microsoft.com/office/drawing/2014/main" id="{32CD6D27-B293-4C37-A785-BDB639DCC809}"/>
              </a:ext>
            </a:extLst>
          </p:cNvPr>
          <p:cNvPicPr>
            <a:picLocks noChangeAspect="1"/>
          </p:cNvPicPr>
          <p:nvPr userDrawn="1"/>
        </p:nvPicPr>
        <p:blipFill>
          <a:blip r:embed="rId33"/>
          <a:stretch>
            <a:fillRect/>
          </a:stretch>
        </p:blipFill>
        <p:spPr>
          <a:xfrm>
            <a:off x="356400" y="4704059"/>
            <a:ext cx="1026000" cy="212400"/>
          </a:xfrm>
          <a:prstGeom prst="rect">
            <a:avLst/>
          </a:prstGeom>
        </p:spPr>
      </p:pic>
      <p:sp>
        <p:nvSpPr>
          <p:cNvPr id="10" name="Date Placeholder 3">
            <a:extLst>
              <a:ext uri="{FF2B5EF4-FFF2-40B4-BE49-F238E27FC236}">
                <a16:creationId xmlns:a16="http://schemas.microsoft.com/office/drawing/2014/main" id="{482702DE-7FC5-499E-AE60-0DC8AAD4A3D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78BEB732-1EAE-4447-B6B5-5E7B232FABE4}" type="datetime6">
              <a:rPr lang="de-CH" smtClean="0"/>
              <a:t>Mai 23</a:t>
            </a:fld>
            <a:endParaRPr lang="de-DE"/>
          </a:p>
        </p:txBody>
      </p:sp>
    </p:spTree>
    <p:extLst>
      <p:ext uri="{BB962C8B-B14F-4D97-AF65-F5344CB8AC3E}">
        <p14:creationId xmlns:p14="http://schemas.microsoft.com/office/powerpoint/2010/main" val="4246037650"/>
      </p:ext>
    </p:extLst>
  </p:cSld>
  <p:clrMap bg1="lt1" tx1="dk1" bg2="lt2" tx2="dk2" accent1="accent1" accent2="accent2" accent3="accent3" accent4="accent4" accent5="accent5" accent6="accent6" hlink="hlink" folHlink="folHlink"/>
  <p:sldLayoutIdLst>
    <p:sldLayoutId id="2147483691" r:id="rId1"/>
    <p:sldLayoutId id="2147483688" r:id="rId2"/>
    <p:sldLayoutId id="2147483689" r:id="rId3"/>
    <p:sldLayoutId id="2147483677" r:id="rId4"/>
    <p:sldLayoutId id="2147483663" r:id="rId5"/>
    <p:sldLayoutId id="2147483686" r:id="rId6"/>
    <p:sldLayoutId id="2147483693" r:id="rId7"/>
    <p:sldLayoutId id="2147483662" r:id="rId8"/>
    <p:sldLayoutId id="2147483697" r:id="rId9"/>
    <p:sldLayoutId id="2147483664" r:id="rId10"/>
    <p:sldLayoutId id="2147483694" r:id="rId11"/>
    <p:sldLayoutId id="2147483698" r:id="rId12"/>
    <p:sldLayoutId id="2147483701" r:id="rId13"/>
    <p:sldLayoutId id="2147483702" r:id="rId14"/>
    <p:sldLayoutId id="2147483672" r:id="rId15"/>
    <p:sldLayoutId id="2147483695" r:id="rId16"/>
    <p:sldLayoutId id="2147483699" r:id="rId17"/>
    <p:sldLayoutId id="2147483673" r:id="rId18"/>
    <p:sldLayoutId id="2147483666" r:id="rId19"/>
    <p:sldLayoutId id="2147483696" r:id="rId20"/>
    <p:sldLayoutId id="2147483700" r:id="rId21"/>
    <p:sldLayoutId id="2147483680" r:id="rId22"/>
    <p:sldLayoutId id="2147483678" r:id="rId23"/>
    <p:sldLayoutId id="2147483679" r:id="rId24"/>
    <p:sldLayoutId id="2147483675" r:id="rId25"/>
    <p:sldLayoutId id="2147483683" r:id="rId26"/>
    <p:sldLayoutId id="2147483667" r:id="rId27"/>
    <p:sldLayoutId id="2147483681" r:id="rId28"/>
    <p:sldLayoutId id="2147483703" r:id="rId29"/>
    <p:sldLayoutId id="2147483705" r:id="rId30"/>
    <p:sldLayoutId id="2147483706" r:id="rId31"/>
  </p:sldLayoutIdLst>
  <p:hf hdr="0" ftr="0" dt="0"/>
  <p:txStyles>
    <p:titleStyle>
      <a:lvl1pPr algn="l" defTabSz="6858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3">
          <p15:clr>
            <a:srgbClr val="F26B43"/>
          </p15:clr>
        </p15:guide>
        <p15:guide id="3" pos="226">
          <p15:clr>
            <a:srgbClr val="F26B43"/>
          </p15:clr>
        </p15:guide>
        <p15:guide id="4" pos="5534">
          <p15:clr>
            <a:srgbClr val="F26B43"/>
          </p15:clr>
        </p15:guide>
        <p15:guide id="5" orient="horz" pos="237">
          <p15:clr>
            <a:srgbClr val="F26B43"/>
          </p15:clr>
        </p15:guide>
        <p15:guide id="6" orient="horz" pos="804">
          <p15:clr>
            <a:srgbClr val="F26B43"/>
          </p15:clr>
        </p15:guide>
        <p15:guide id="7" orient="horz" pos="2822">
          <p15:clr>
            <a:srgbClr val="F26B43"/>
          </p15:clr>
        </p15:guide>
        <p15:guide id="8" pos="2823">
          <p15:clr>
            <a:srgbClr val="F26B43"/>
          </p15:clr>
        </p15:guide>
        <p15:guide id="9" pos="2937">
          <p15:clr>
            <a:srgbClr val="F26B43"/>
          </p15:clr>
        </p15:guide>
        <p15:guide id="10" orient="horz" pos="463">
          <p15:clr>
            <a:srgbClr val="F26B43"/>
          </p15:clr>
        </p15:guide>
        <p15:guide id="11" orient="horz" pos="309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hyperlink" Target="https://pandas.pydata.org/docs/reference/api/pandas.DataFrame.merge.html" TargetMode="Externa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hyperlink" Target="https://pandas.pydata.org/docs/reference/api/pandas.DataFrame.apply.html" TargetMode="Externa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hyperlink" Target="https://pandas.pydata.org/docs/reference/api/pandas.DataFrame.groupby.html" TargetMode="Externa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hyperlink" Target="https://pandas.pydata.org/docs/reference/api/pandas.DataFrame.pivot.html" TargetMode="External"/><Relationship Id="rId2" Type="http://schemas.openxmlformats.org/officeDocument/2006/relationships/hyperlink" Target="https://pandas.pydata.org/docs/reference/api/pandas.melt.html" TargetMode="Externa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hyperlink" Target="mailto:dominik.buchegger@student.unisg.ch" TargetMode="External"/><Relationship Id="rId2" Type="http://schemas.openxmlformats.org/officeDocument/2006/relationships/notesSlide" Target="../notesSlides/notesSlide2.xml"/><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hyperlink" Target="https://colab.research.google.com/drive/1uFHic-MU3dmt1-oe_cJoUitgn6w6IRZu#scrollTo=U0febPm4OGzL" TargetMode="Externa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a:extLst>
              <a:ext uri="{FF2B5EF4-FFF2-40B4-BE49-F238E27FC236}">
                <a16:creationId xmlns:a16="http://schemas.microsoft.com/office/drawing/2014/main" id="{D3143055-81F2-4195-A863-909ED77C77CF}"/>
              </a:ext>
            </a:extLst>
          </p:cNvPr>
          <p:cNvSpPr>
            <a:spLocks noGrp="1"/>
          </p:cNvSpPr>
          <p:nvPr>
            <p:ph type="title"/>
          </p:nvPr>
        </p:nvSpPr>
        <p:spPr>
          <a:xfrm>
            <a:off x="827015" y="1636541"/>
            <a:ext cx="8132898" cy="1531505"/>
          </a:xfrm>
        </p:spPr>
        <p:txBody>
          <a:bodyPr/>
          <a:lstStyle/>
          <a:p>
            <a:r>
              <a:rPr lang="de-DE" sz="4000" dirty="0"/>
              <a:t>Grundlagen und Methoden </a:t>
            </a:r>
            <a:br>
              <a:rPr lang="de-DE" sz="4000" dirty="0"/>
            </a:br>
            <a:r>
              <a:rPr lang="de-DE" sz="4000" dirty="0"/>
              <a:t>der Informatik</a:t>
            </a:r>
            <a:endParaRPr lang="de-DE" dirty="0"/>
          </a:p>
        </p:txBody>
      </p:sp>
      <p:sp>
        <p:nvSpPr>
          <p:cNvPr id="13" name="Textplatzhalter 12">
            <a:extLst>
              <a:ext uri="{FF2B5EF4-FFF2-40B4-BE49-F238E27FC236}">
                <a16:creationId xmlns:a16="http://schemas.microsoft.com/office/drawing/2014/main" id="{0C11E479-9B3A-42D2-A07C-80F9E924336D}"/>
              </a:ext>
            </a:extLst>
          </p:cNvPr>
          <p:cNvSpPr>
            <a:spLocks noGrp="1"/>
          </p:cNvSpPr>
          <p:nvPr>
            <p:ph type="body" sz="quarter" idx="10"/>
          </p:nvPr>
        </p:nvSpPr>
        <p:spPr/>
        <p:txBody>
          <a:bodyPr>
            <a:normAutofit/>
          </a:bodyPr>
          <a:lstStyle/>
          <a:p>
            <a:r>
              <a:rPr lang="de-DE" dirty="0" err="1"/>
              <a:t>Exercise</a:t>
            </a:r>
            <a:r>
              <a:rPr lang="de-DE" dirty="0"/>
              <a:t> </a:t>
            </a:r>
            <a:r>
              <a:rPr lang="de-DE" dirty="0" err="1"/>
              <a:t>week</a:t>
            </a:r>
            <a:r>
              <a:rPr lang="de-DE" dirty="0"/>
              <a:t> 9</a:t>
            </a:r>
          </a:p>
          <a:p>
            <a:endParaRPr lang="de-DE" dirty="0"/>
          </a:p>
          <a:p>
            <a:r>
              <a:rPr lang="de-DE" dirty="0"/>
              <a:t>Dominik Buchegger</a:t>
            </a:r>
          </a:p>
        </p:txBody>
      </p:sp>
    </p:spTree>
    <p:extLst>
      <p:ext uri="{BB962C8B-B14F-4D97-AF65-F5344CB8AC3E}">
        <p14:creationId xmlns:p14="http://schemas.microsoft.com/office/powerpoint/2010/main" val="37724966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0A79A4D-3B6C-366E-FAA7-EAF6E116F528}"/>
              </a:ext>
            </a:extLst>
          </p:cNvPr>
          <p:cNvSpPr>
            <a:spLocks noGrp="1"/>
          </p:cNvSpPr>
          <p:nvPr>
            <p:ph type="title"/>
          </p:nvPr>
        </p:nvSpPr>
        <p:spPr/>
        <p:txBody>
          <a:bodyPr/>
          <a:lstStyle/>
          <a:p>
            <a:r>
              <a:rPr lang="en-GB"/>
              <a:t>Assignment 8 and Quiz 8</a:t>
            </a:r>
          </a:p>
        </p:txBody>
      </p:sp>
      <p:sp>
        <p:nvSpPr>
          <p:cNvPr id="2" name="Textplatzhalter 1">
            <a:extLst>
              <a:ext uri="{FF2B5EF4-FFF2-40B4-BE49-F238E27FC236}">
                <a16:creationId xmlns:a16="http://schemas.microsoft.com/office/drawing/2014/main" id="{46FB8CD8-4038-0140-9D65-1F34C00B12C6}"/>
              </a:ext>
            </a:extLst>
          </p:cNvPr>
          <p:cNvSpPr>
            <a:spLocks noGrp="1"/>
          </p:cNvSpPr>
          <p:nvPr>
            <p:ph sz="half" idx="1"/>
          </p:nvPr>
        </p:nvSpPr>
        <p:spPr/>
        <p:txBody>
          <a:bodyPr>
            <a:normAutofit/>
          </a:bodyPr>
          <a:lstStyle/>
          <a:p>
            <a:pPr marL="0" indent="0"/>
            <a:r>
              <a:rPr lang="en-GB" sz="1600" u="sng"/>
              <a:t>Important concepts from assignment &amp; quiz 8</a:t>
            </a:r>
            <a:endParaRPr lang="en-GB" sz="1600"/>
          </a:p>
          <a:p>
            <a:pPr marL="285750" indent="-285750">
              <a:buFont typeface="Arial" panose="020B0604020202020204" pitchFamily="34" charset="0"/>
              <a:buChar char="•"/>
            </a:pPr>
            <a:r>
              <a:rPr lang="en-GB" sz="1600" err="1"/>
              <a:t>pd.DataFrame</a:t>
            </a:r>
            <a:r>
              <a:rPr lang="en-GB" sz="1600"/>
              <a:t> vs. </a:t>
            </a:r>
            <a:r>
              <a:rPr lang="en-GB" sz="1600" err="1"/>
              <a:t>pd.Series</a:t>
            </a:r>
            <a:endParaRPr lang="en-GB" sz="1600"/>
          </a:p>
          <a:p>
            <a:pPr marL="285750" indent="-285750">
              <a:buFont typeface="Arial" panose="020B0604020202020204" pitchFamily="34" charset="0"/>
              <a:buChar char="•"/>
            </a:pPr>
            <a:r>
              <a:rPr lang="en-GB" sz="1600"/>
              <a:t>How to inspect a DF? </a:t>
            </a:r>
          </a:p>
          <a:p>
            <a:pPr marL="285750" indent="-285750">
              <a:buFont typeface="Arial" panose="020B0604020202020204" pitchFamily="34" charset="0"/>
              <a:buChar char="•"/>
            </a:pPr>
            <a:r>
              <a:rPr lang="en-GB" sz="1600"/>
              <a:t>How to access data in a DF?</a:t>
            </a:r>
          </a:p>
          <a:p>
            <a:pPr marL="285750" indent="-285750">
              <a:buFont typeface="Arial" panose="020B0604020202020204" pitchFamily="34" charset="0"/>
              <a:buChar char="•"/>
            </a:pPr>
            <a:r>
              <a:rPr lang="en-GB" sz="1600"/>
              <a:t>How to change a DF? (hint: copy it first)</a:t>
            </a:r>
          </a:p>
          <a:p>
            <a:pPr marL="285750" indent="-285750">
              <a:buFont typeface="Arial" panose="020B0604020202020204" pitchFamily="34" charset="0"/>
              <a:buChar char="•"/>
            </a:pPr>
            <a:r>
              <a:rPr lang="en-GB" sz="1600"/>
              <a:t>Add a column to a DF</a:t>
            </a:r>
          </a:p>
          <a:p>
            <a:pPr marL="285750" indent="-285750">
              <a:buFont typeface="Arial" panose="020B0604020202020204" pitchFamily="34" charset="0"/>
              <a:buChar char="•"/>
            </a:pPr>
            <a:r>
              <a:rPr lang="en-GB" sz="1600"/>
              <a:t>Arithmetic with entire columns</a:t>
            </a:r>
          </a:p>
          <a:p>
            <a:pPr marL="285750" indent="-285750">
              <a:buFont typeface="Arial" panose="020B0604020202020204" pitchFamily="34" charset="0"/>
              <a:buChar char="•"/>
            </a:pPr>
            <a:r>
              <a:rPr lang="en-GB" sz="1600" b="1"/>
              <a:t>Transpose a </a:t>
            </a:r>
            <a:r>
              <a:rPr lang="en-GB" sz="1600" b="1" err="1"/>
              <a:t>DataFrame</a:t>
            </a:r>
            <a:endParaRPr lang="en-GB" sz="1600" b="1"/>
          </a:p>
          <a:p>
            <a:endParaRPr lang="en-GB" sz="1600"/>
          </a:p>
        </p:txBody>
      </p:sp>
      <p:sp>
        <p:nvSpPr>
          <p:cNvPr id="3" name="Foliennummernplatzhalter 2">
            <a:extLst>
              <a:ext uri="{FF2B5EF4-FFF2-40B4-BE49-F238E27FC236}">
                <a16:creationId xmlns:a16="http://schemas.microsoft.com/office/drawing/2014/main" id="{D7C1CC86-C0E9-FAD8-64A7-E31EB225874F}"/>
              </a:ext>
            </a:extLst>
          </p:cNvPr>
          <p:cNvSpPr>
            <a:spLocks noGrp="1"/>
          </p:cNvSpPr>
          <p:nvPr>
            <p:ph type="sldNum" sz="quarter" idx="16"/>
          </p:nvPr>
        </p:nvSpPr>
        <p:spPr/>
        <p:txBody>
          <a:bodyPr/>
          <a:lstStyle/>
          <a:p>
            <a:fld id="{7559FC98-AF75-4A00-A03C-DF9FEBF6BCB9}" type="slidenum">
              <a:rPr lang="en-GB" smtClean="0"/>
              <a:pPr/>
              <a:t>10</a:t>
            </a:fld>
            <a:endParaRPr lang="en-GB"/>
          </a:p>
        </p:txBody>
      </p:sp>
      <p:sp>
        <p:nvSpPr>
          <p:cNvPr id="6" name="Inhaltsplatzhalter 5">
            <a:extLst>
              <a:ext uri="{FF2B5EF4-FFF2-40B4-BE49-F238E27FC236}">
                <a16:creationId xmlns:a16="http://schemas.microsoft.com/office/drawing/2014/main" id="{AE92BD09-1224-9145-FE1E-132C9A6CD42F}"/>
              </a:ext>
            </a:extLst>
          </p:cNvPr>
          <p:cNvSpPr>
            <a:spLocks noGrp="1"/>
          </p:cNvSpPr>
          <p:nvPr>
            <p:ph sz="half" idx="2"/>
          </p:nvPr>
        </p:nvSpPr>
        <p:spPr>
          <a:xfrm>
            <a:off x="4662487" y="1276351"/>
            <a:ext cx="4122737" cy="729234"/>
          </a:xfrm>
        </p:spPr>
        <p:txBody>
          <a:bodyPr/>
          <a:lstStyle/>
          <a:p>
            <a:r>
              <a:rPr lang="en-GB"/>
              <a:t>“Transposing” means to change the orientation of the DF. Column names become row (index) names, and row (index) names become column names.</a:t>
            </a:r>
          </a:p>
        </p:txBody>
      </p:sp>
      <p:sp>
        <p:nvSpPr>
          <p:cNvPr id="5" name="Rechteck 4">
            <a:extLst>
              <a:ext uri="{FF2B5EF4-FFF2-40B4-BE49-F238E27FC236}">
                <a16:creationId xmlns:a16="http://schemas.microsoft.com/office/drawing/2014/main" id="{22B2DB3C-A070-C629-1B3F-4DA6C7BA7CDE}"/>
              </a:ext>
            </a:extLst>
          </p:cNvPr>
          <p:cNvSpPr/>
          <p:nvPr/>
        </p:nvSpPr>
        <p:spPr>
          <a:xfrm>
            <a:off x="3092795" y="3809572"/>
            <a:ext cx="1517904" cy="9144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GB">
                <a:solidFill>
                  <a:sysClr val="windowText" lastClr="000000"/>
                </a:solidFill>
              </a:rPr>
              <a:t>data</a:t>
            </a:r>
          </a:p>
        </p:txBody>
      </p:sp>
      <p:sp>
        <p:nvSpPr>
          <p:cNvPr id="7" name="Rechteck 6">
            <a:extLst>
              <a:ext uri="{FF2B5EF4-FFF2-40B4-BE49-F238E27FC236}">
                <a16:creationId xmlns:a16="http://schemas.microsoft.com/office/drawing/2014/main" id="{E251CA10-B5D1-913E-E83F-D5DD2C975A53}"/>
              </a:ext>
            </a:extLst>
          </p:cNvPr>
          <p:cNvSpPr/>
          <p:nvPr/>
        </p:nvSpPr>
        <p:spPr>
          <a:xfrm>
            <a:off x="3092795" y="3523060"/>
            <a:ext cx="1517904" cy="21336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columns</a:t>
            </a:r>
          </a:p>
        </p:txBody>
      </p:sp>
      <p:sp>
        <p:nvSpPr>
          <p:cNvPr id="8" name="Rechteck 7">
            <a:extLst>
              <a:ext uri="{FF2B5EF4-FFF2-40B4-BE49-F238E27FC236}">
                <a16:creationId xmlns:a16="http://schemas.microsoft.com/office/drawing/2014/main" id="{CC8B0180-2CCA-E640-7124-6138DB37095E}"/>
              </a:ext>
            </a:extLst>
          </p:cNvPr>
          <p:cNvSpPr/>
          <p:nvPr/>
        </p:nvSpPr>
        <p:spPr>
          <a:xfrm rot="16200000">
            <a:off x="2454622" y="4160092"/>
            <a:ext cx="914400" cy="213360"/>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rows</a:t>
            </a:r>
          </a:p>
        </p:txBody>
      </p:sp>
      <p:sp>
        <p:nvSpPr>
          <p:cNvPr id="9" name="Rechteck 8">
            <a:extLst>
              <a:ext uri="{FF2B5EF4-FFF2-40B4-BE49-F238E27FC236}">
                <a16:creationId xmlns:a16="http://schemas.microsoft.com/office/drawing/2014/main" id="{61BA4C4B-4BCD-B591-0B27-984625684206}"/>
              </a:ext>
            </a:extLst>
          </p:cNvPr>
          <p:cNvSpPr/>
          <p:nvPr/>
        </p:nvSpPr>
        <p:spPr>
          <a:xfrm>
            <a:off x="3092795" y="3830812"/>
            <a:ext cx="1517904" cy="213360"/>
          </a:xfrm>
          <a:prstGeom prst="rect">
            <a:avLst/>
          </a:prstGeom>
          <a:solidFill>
            <a:srgbClr val="73A5AF">
              <a:alpha val="50196"/>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row 1</a:t>
            </a:r>
          </a:p>
        </p:txBody>
      </p:sp>
      <p:sp>
        <p:nvSpPr>
          <p:cNvPr id="10" name="Rechteck 9">
            <a:extLst>
              <a:ext uri="{FF2B5EF4-FFF2-40B4-BE49-F238E27FC236}">
                <a16:creationId xmlns:a16="http://schemas.microsoft.com/office/drawing/2014/main" id="{A6446A28-1F8E-649A-4C78-A59A50C088A2}"/>
              </a:ext>
            </a:extLst>
          </p:cNvPr>
          <p:cNvSpPr/>
          <p:nvPr/>
        </p:nvSpPr>
        <p:spPr>
          <a:xfrm rot="16200000">
            <a:off x="3075983" y="4170712"/>
            <a:ext cx="893160" cy="213360"/>
          </a:xfrm>
          <a:prstGeom prst="rect">
            <a:avLst/>
          </a:prstGeom>
          <a:solidFill>
            <a:srgbClr val="00802F">
              <a:alpha val="4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col 'c'</a:t>
            </a:r>
          </a:p>
        </p:txBody>
      </p:sp>
      <p:cxnSp>
        <p:nvCxnSpPr>
          <p:cNvPr id="12" name="Gerader Verbinder 11">
            <a:extLst>
              <a:ext uri="{FF2B5EF4-FFF2-40B4-BE49-F238E27FC236}">
                <a16:creationId xmlns:a16="http://schemas.microsoft.com/office/drawing/2014/main" id="{3AD069C6-44E0-ACDD-7C54-C382822E726B}"/>
              </a:ext>
            </a:extLst>
          </p:cNvPr>
          <p:cNvCxnSpPr>
            <a:cxnSpLocks/>
          </p:cNvCxnSpPr>
          <p:nvPr/>
        </p:nvCxnSpPr>
        <p:spPr>
          <a:xfrm>
            <a:off x="2695931" y="3565334"/>
            <a:ext cx="2164080" cy="1311704"/>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4" name="Pfeil: nach links gekrümmt 13">
            <a:extLst>
              <a:ext uri="{FF2B5EF4-FFF2-40B4-BE49-F238E27FC236}">
                <a16:creationId xmlns:a16="http://schemas.microsoft.com/office/drawing/2014/main" id="{59819452-6786-15E5-9E72-6CDFF38C9393}"/>
              </a:ext>
            </a:extLst>
          </p:cNvPr>
          <p:cNvSpPr/>
          <p:nvPr/>
        </p:nvSpPr>
        <p:spPr>
          <a:xfrm rot="1800000">
            <a:off x="4799973" y="4660764"/>
            <a:ext cx="213360" cy="517095"/>
          </a:xfrm>
          <a:prstGeom prst="curvedLeftArrow">
            <a:avLst/>
          </a:prstGeom>
          <a:solidFill>
            <a:srgbClr val="FF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Pfeil: nach links gekrümmt 14">
            <a:extLst>
              <a:ext uri="{FF2B5EF4-FFF2-40B4-BE49-F238E27FC236}">
                <a16:creationId xmlns:a16="http://schemas.microsoft.com/office/drawing/2014/main" id="{BBD902A2-AAB6-F77F-C3C6-C852A11B117E}"/>
              </a:ext>
            </a:extLst>
          </p:cNvPr>
          <p:cNvSpPr/>
          <p:nvPr/>
        </p:nvSpPr>
        <p:spPr>
          <a:xfrm rot="12600000">
            <a:off x="2489309" y="3252639"/>
            <a:ext cx="213360" cy="517095"/>
          </a:xfrm>
          <a:prstGeom prst="curvedLeftArrow">
            <a:avLst/>
          </a:prstGeom>
          <a:solidFill>
            <a:srgbClr val="FF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Rechteck 15">
            <a:extLst>
              <a:ext uri="{FF2B5EF4-FFF2-40B4-BE49-F238E27FC236}">
                <a16:creationId xmlns:a16="http://schemas.microsoft.com/office/drawing/2014/main" id="{FBABFD9E-DEA2-57B3-92B5-0B4620270AFD}"/>
              </a:ext>
            </a:extLst>
          </p:cNvPr>
          <p:cNvSpPr/>
          <p:nvPr/>
        </p:nvSpPr>
        <p:spPr>
          <a:xfrm>
            <a:off x="6818669" y="3809572"/>
            <a:ext cx="1517904" cy="9144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GB">
                <a:solidFill>
                  <a:sysClr val="windowText" lastClr="000000"/>
                </a:solidFill>
              </a:rPr>
              <a:t>data</a:t>
            </a:r>
          </a:p>
        </p:txBody>
      </p:sp>
      <p:sp>
        <p:nvSpPr>
          <p:cNvPr id="17" name="Rechteck 16">
            <a:extLst>
              <a:ext uri="{FF2B5EF4-FFF2-40B4-BE49-F238E27FC236}">
                <a16:creationId xmlns:a16="http://schemas.microsoft.com/office/drawing/2014/main" id="{359BD784-72E8-4697-624C-587D123668F2}"/>
              </a:ext>
            </a:extLst>
          </p:cNvPr>
          <p:cNvSpPr/>
          <p:nvPr/>
        </p:nvSpPr>
        <p:spPr>
          <a:xfrm>
            <a:off x="6818669" y="3523060"/>
            <a:ext cx="1517904" cy="213360"/>
          </a:xfrm>
          <a:prstGeom prst="rect">
            <a:avLst/>
          </a:prstGeom>
          <a:solidFill>
            <a:srgbClr val="73A5A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columns</a:t>
            </a:r>
          </a:p>
        </p:txBody>
      </p:sp>
      <p:sp>
        <p:nvSpPr>
          <p:cNvPr id="18" name="Rechteck 17">
            <a:extLst>
              <a:ext uri="{FF2B5EF4-FFF2-40B4-BE49-F238E27FC236}">
                <a16:creationId xmlns:a16="http://schemas.microsoft.com/office/drawing/2014/main" id="{CF7F9518-9061-6F90-F8A3-82C5D78C0A68}"/>
              </a:ext>
            </a:extLst>
          </p:cNvPr>
          <p:cNvSpPr/>
          <p:nvPr/>
        </p:nvSpPr>
        <p:spPr>
          <a:xfrm rot="16200000">
            <a:off x="6180496" y="4160092"/>
            <a:ext cx="914400" cy="213360"/>
          </a:xfrm>
          <a:prstGeom prst="rect">
            <a:avLst/>
          </a:prstGeom>
          <a:solidFill>
            <a:srgbClr val="00802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columns</a:t>
            </a:r>
          </a:p>
        </p:txBody>
      </p:sp>
      <p:sp>
        <p:nvSpPr>
          <p:cNvPr id="19" name="Rechteck 18">
            <a:extLst>
              <a:ext uri="{FF2B5EF4-FFF2-40B4-BE49-F238E27FC236}">
                <a16:creationId xmlns:a16="http://schemas.microsoft.com/office/drawing/2014/main" id="{5EF443B4-7FE2-BFCB-1F8F-94BCC87736E5}"/>
              </a:ext>
            </a:extLst>
          </p:cNvPr>
          <p:cNvSpPr/>
          <p:nvPr/>
        </p:nvSpPr>
        <p:spPr>
          <a:xfrm>
            <a:off x="6834551" y="4084367"/>
            <a:ext cx="1517904" cy="213360"/>
          </a:xfrm>
          <a:prstGeom prst="rect">
            <a:avLst/>
          </a:prstGeom>
          <a:solidFill>
            <a:srgbClr val="00802F">
              <a:alpha val="4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col 'c'</a:t>
            </a:r>
          </a:p>
        </p:txBody>
      </p:sp>
      <p:sp>
        <p:nvSpPr>
          <p:cNvPr id="20" name="Rechteck 19">
            <a:extLst>
              <a:ext uri="{FF2B5EF4-FFF2-40B4-BE49-F238E27FC236}">
                <a16:creationId xmlns:a16="http://schemas.microsoft.com/office/drawing/2014/main" id="{3B72D60B-9421-14E5-42AD-45A23CDA9E1E}"/>
              </a:ext>
            </a:extLst>
          </p:cNvPr>
          <p:cNvSpPr/>
          <p:nvPr/>
        </p:nvSpPr>
        <p:spPr>
          <a:xfrm rot="16200000">
            <a:off x="6494651" y="4170712"/>
            <a:ext cx="893160" cy="213360"/>
          </a:xfrm>
          <a:prstGeom prst="rect">
            <a:avLst/>
          </a:prstGeom>
          <a:solidFill>
            <a:srgbClr val="73A5AF">
              <a:alpha val="50196"/>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row 1</a:t>
            </a:r>
          </a:p>
        </p:txBody>
      </p:sp>
      <p:sp>
        <p:nvSpPr>
          <p:cNvPr id="24" name="Pfeil: nach rechts 23">
            <a:extLst>
              <a:ext uri="{FF2B5EF4-FFF2-40B4-BE49-F238E27FC236}">
                <a16:creationId xmlns:a16="http://schemas.microsoft.com/office/drawing/2014/main" id="{C0E5ACE9-45B2-EE6D-D181-29E6B2A4C636}"/>
              </a:ext>
            </a:extLst>
          </p:cNvPr>
          <p:cNvSpPr/>
          <p:nvPr/>
        </p:nvSpPr>
        <p:spPr>
          <a:xfrm>
            <a:off x="5312600" y="4023407"/>
            <a:ext cx="775874" cy="39555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DF.T</a:t>
            </a:r>
          </a:p>
        </p:txBody>
      </p:sp>
    </p:spTree>
    <p:extLst>
      <p:ext uri="{BB962C8B-B14F-4D97-AF65-F5344CB8AC3E}">
        <p14:creationId xmlns:p14="http://schemas.microsoft.com/office/powerpoint/2010/main" val="4476968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8" grpId="0" animBg="1"/>
      <p:bldP spid="9" grpId="0" animBg="1"/>
      <p:bldP spid="10" grpId="0" animBg="1"/>
      <p:bldP spid="16" grpId="0" animBg="1"/>
      <p:bldP spid="17" grpId="0" animBg="1"/>
      <p:bldP spid="18" grpId="0" animBg="1"/>
      <p:bldP spid="19" grpId="0" animBg="1"/>
      <p:bldP spid="2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2E3E48-FF8A-5E4C-67CC-8B0608A09C2C}"/>
              </a:ext>
            </a:extLst>
          </p:cNvPr>
          <p:cNvSpPr>
            <a:spLocks noGrp="1"/>
          </p:cNvSpPr>
          <p:nvPr>
            <p:ph type="title"/>
          </p:nvPr>
        </p:nvSpPr>
        <p:spPr/>
        <p:txBody>
          <a:bodyPr/>
          <a:lstStyle/>
          <a:p>
            <a:r>
              <a:rPr lang="en-GB" dirty="0"/>
              <a:t>Brief summary of last</a:t>
            </a:r>
            <a:br>
              <a:rPr lang="en-GB" dirty="0"/>
            </a:br>
            <a:r>
              <a:rPr lang="en-GB" dirty="0"/>
              <a:t>week’s content</a:t>
            </a:r>
            <a:br>
              <a:rPr lang="en-GB" dirty="0"/>
            </a:br>
            <a:endParaRPr lang="en-GB" dirty="0"/>
          </a:p>
        </p:txBody>
      </p:sp>
      <p:sp>
        <p:nvSpPr>
          <p:cNvPr id="3" name="Text Placeholder 2">
            <a:extLst>
              <a:ext uri="{FF2B5EF4-FFF2-40B4-BE49-F238E27FC236}">
                <a16:creationId xmlns:a16="http://schemas.microsoft.com/office/drawing/2014/main" id="{33F7A37F-392C-4947-D49C-24175162D5FF}"/>
              </a:ext>
            </a:extLst>
          </p:cNvPr>
          <p:cNvSpPr>
            <a:spLocks noGrp="1"/>
          </p:cNvSpPr>
          <p:nvPr>
            <p:ph type="body" idx="1"/>
          </p:nvPr>
        </p:nvSpPr>
        <p:spPr/>
        <p:txBody>
          <a:bodyPr/>
          <a:lstStyle/>
          <a:p>
            <a:r>
              <a:rPr lang="de-CH" dirty="0" err="1"/>
              <a:t>Advanced</a:t>
            </a:r>
            <a:r>
              <a:rPr lang="de-CH" dirty="0"/>
              <a:t> Pandas</a:t>
            </a:r>
            <a:endParaRPr lang="en-GB" dirty="0"/>
          </a:p>
        </p:txBody>
      </p:sp>
    </p:spTree>
    <p:extLst>
      <p:ext uri="{BB962C8B-B14F-4D97-AF65-F5344CB8AC3E}">
        <p14:creationId xmlns:p14="http://schemas.microsoft.com/office/powerpoint/2010/main" val="32417050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B2E11F-CB09-D108-5CC6-5F0B50A95919}"/>
              </a:ext>
            </a:extLst>
          </p:cNvPr>
          <p:cNvSpPr>
            <a:spLocks noGrp="1"/>
          </p:cNvSpPr>
          <p:nvPr>
            <p:ph type="title"/>
          </p:nvPr>
        </p:nvSpPr>
        <p:spPr/>
        <p:txBody>
          <a:bodyPr/>
          <a:lstStyle/>
          <a:p>
            <a:r>
              <a:rPr lang="en-GB"/>
              <a:t>Merging </a:t>
            </a:r>
            <a:r>
              <a:rPr lang="en-GB" err="1"/>
              <a:t>dataframes</a:t>
            </a:r>
            <a:r>
              <a:rPr lang="en-GB"/>
              <a:t> - on index (row)</a:t>
            </a:r>
          </a:p>
        </p:txBody>
      </p:sp>
      <p:sp>
        <p:nvSpPr>
          <p:cNvPr id="4" name="Slide Number Placeholder 3">
            <a:extLst>
              <a:ext uri="{FF2B5EF4-FFF2-40B4-BE49-F238E27FC236}">
                <a16:creationId xmlns:a16="http://schemas.microsoft.com/office/drawing/2014/main" id="{5B3F0E13-1EFC-0875-A78D-14E36C9F7BD2}"/>
              </a:ext>
            </a:extLst>
          </p:cNvPr>
          <p:cNvSpPr>
            <a:spLocks noGrp="1"/>
          </p:cNvSpPr>
          <p:nvPr>
            <p:ph type="sldNum" sz="quarter" idx="12"/>
          </p:nvPr>
        </p:nvSpPr>
        <p:spPr/>
        <p:txBody>
          <a:bodyPr/>
          <a:lstStyle/>
          <a:p>
            <a:fld id="{7559FC98-AF75-4A00-A03C-DF9FEBF6BCB9}" type="slidenum">
              <a:rPr lang="en-GB" smtClean="0"/>
              <a:pPr/>
              <a:t>12</a:t>
            </a:fld>
            <a:endParaRPr lang="en-GB"/>
          </a:p>
        </p:txBody>
      </p:sp>
      <p:sp>
        <p:nvSpPr>
          <p:cNvPr id="3" name="TextBox 2">
            <a:extLst>
              <a:ext uri="{FF2B5EF4-FFF2-40B4-BE49-F238E27FC236}">
                <a16:creationId xmlns:a16="http://schemas.microsoft.com/office/drawing/2014/main" id="{CC9AFEE3-270E-FD04-484C-B5C922C1F857}"/>
              </a:ext>
            </a:extLst>
          </p:cNvPr>
          <p:cNvSpPr txBox="1"/>
          <p:nvPr/>
        </p:nvSpPr>
        <p:spPr>
          <a:xfrm>
            <a:off x="355704" y="803629"/>
            <a:ext cx="8441095" cy="715581"/>
          </a:xfrm>
          <a:prstGeom prst="rect">
            <a:avLst/>
          </a:prstGeom>
          <a:noFill/>
        </p:spPr>
        <p:txBody>
          <a:bodyPr wrap="square" rtlCol="0">
            <a:spAutoFit/>
          </a:bodyPr>
          <a:lstStyle/>
          <a:p>
            <a:r>
              <a:rPr lang="en-GB"/>
              <a:t>So far, we have seen how we can merge (JOIN) SQL tables. The same can apply to pandas </a:t>
            </a:r>
            <a:r>
              <a:rPr lang="en-GB" err="1"/>
              <a:t>dataframes</a:t>
            </a:r>
            <a:r>
              <a:rPr lang="en-GB"/>
              <a:t>. </a:t>
            </a:r>
          </a:p>
          <a:p>
            <a:r>
              <a:rPr lang="en-GB" err="1"/>
              <a:t>pd.</a:t>
            </a:r>
            <a:r>
              <a:rPr lang="en-GB" err="1">
                <a:solidFill>
                  <a:srgbClr val="00B0F0"/>
                </a:solidFill>
              </a:rPr>
              <a:t>merge</a:t>
            </a:r>
            <a:r>
              <a:rPr lang="en-GB"/>
              <a:t>() returns a new </a:t>
            </a:r>
            <a:r>
              <a:rPr lang="en-GB" err="1"/>
              <a:t>dataframe</a:t>
            </a:r>
            <a:r>
              <a:rPr lang="en-GB"/>
              <a:t>, based on the method of merging we use.</a:t>
            </a:r>
          </a:p>
          <a:p>
            <a:r>
              <a:rPr lang="en-GB"/>
              <a:t>There are </a:t>
            </a:r>
            <a:r>
              <a:rPr lang="en-GB" b="1"/>
              <a:t>four</a:t>
            </a:r>
            <a:r>
              <a:rPr lang="en-GB"/>
              <a:t> ways to merge two </a:t>
            </a:r>
            <a:r>
              <a:rPr lang="en-GB" err="1"/>
              <a:t>dataframes</a:t>
            </a:r>
            <a:r>
              <a:rPr lang="en-GB"/>
              <a:t>:</a:t>
            </a:r>
          </a:p>
        </p:txBody>
      </p:sp>
      <p:graphicFrame>
        <p:nvGraphicFramePr>
          <p:cNvPr id="5" name="Table 4">
            <a:extLst>
              <a:ext uri="{FF2B5EF4-FFF2-40B4-BE49-F238E27FC236}">
                <a16:creationId xmlns:a16="http://schemas.microsoft.com/office/drawing/2014/main" id="{E1FDB3AB-0418-00E3-634F-AE27B8159625}"/>
              </a:ext>
            </a:extLst>
          </p:cNvPr>
          <p:cNvGraphicFramePr>
            <a:graphicFrameLocks noGrp="1"/>
          </p:cNvGraphicFramePr>
          <p:nvPr/>
        </p:nvGraphicFramePr>
        <p:xfrm>
          <a:off x="295474" y="1907578"/>
          <a:ext cx="8632453" cy="2326375"/>
        </p:xfrm>
        <a:graphic>
          <a:graphicData uri="http://schemas.openxmlformats.org/drawingml/2006/table">
            <a:tbl>
              <a:tblPr firstRow="1" bandRow="1">
                <a:tableStyleId>{93296810-A885-4BE3-A3E7-6D5BEEA58F35}</a:tableStyleId>
              </a:tblPr>
              <a:tblGrid>
                <a:gridCol w="957742">
                  <a:extLst>
                    <a:ext uri="{9D8B030D-6E8A-4147-A177-3AD203B41FA5}">
                      <a16:colId xmlns:a16="http://schemas.microsoft.com/office/drawing/2014/main" val="624389380"/>
                    </a:ext>
                  </a:extLst>
                </a:gridCol>
                <a:gridCol w="3691434">
                  <a:extLst>
                    <a:ext uri="{9D8B030D-6E8A-4147-A177-3AD203B41FA5}">
                      <a16:colId xmlns:a16="http://schemas.microsoft.com/office/drawing/2014/main" val="2902301388"/>
                    </a:ext>
                  </a:extLst>
                </a:gridCol>
                <a:gridCol w="3983277">
                  <a:extLst>
                    <a:ext uri="{9D8B030D-6E8A-4147-A177-3AD203B41FA5}">
                      <a16:colId xmlns:a16="http://schemas.microsoft.com/office/drawing/2014/main" val="943061220"/>
                    </a:ext>
                  </a:extLst>
                </a:gridCol>
              </a:tblGrid>
              <a:tr h="270762">
                <a:tc>
                  <a:txBody>
                    <a:bodyPr/>
                    <a:lstStyle/>
                    <a:p>
                      <a:r>
                        <a:rPr lang="en-GB"/>
                        <a:t>Join type</a:t>
                      </a:r>
                    </a:p>
                  </a:txBody>
                  <a:tcPr>
                    <a:solidFill>
                      <a:srgbClr val="006600"/>
                    </a:solidFill>
                  </a:tcPr>
                </a:tc>
                <a:tc>
                  <a:txBody>
                    <a:bodyPr/>
                    <a:lstStyle/>
                    <a:p>
                      <a:r>
                        <a:rPr lang="en-GB"/>
                        <a:t>Example command</a:t>
                      </a:r>
                    </a:p>
                  </a:txBody>
                  <a:tcPr>
                    <a:solidFill>
                      <a:srgbClr val="006600"/>
                    </a:solidFill>
                  </a:tcPr>
                </a:tc>
                <a:tc>
                  <a:txBody>
                    <a:bodyPr/>
                    <a:lstStyle/>
                    <a:p>
                      <a:r>
                        <a:rPr lang="en-GB"/>
                        <a:t>Explanation</a:t>
                      </a:r>
                    </a:p>
                  </a:txBody>
                  <a:tcPr>
                    <a:solidFill>
                      <a:srgbClr val="006600"/>
                    </a:solidFill>
                  </a:tcPr>
                </a:tc>
                <a:extLst>
                  <a:ext uri="{0D108BD9-81ED-4DB2-BD59-A6C34878D82A}">
                    <a16:rowId xmlns:a16="http://schemas.microsoft.com/office/drawing/2014/main" val="3157248217"/>
                  </a:ext>
                </a:extLst>
              </a:tr>
              <a:tr h="497888">
                <a:tc>
                  <a:txBody>
                    <a:bodyPr/>
                    <a:lstStyle/>
                    <a:p>
                      <a:r>
                        <a:rPr lang="en-GB"/>
                        <a:t>Outer join</a:t>
                      </a:r>
                    </a:p>
                  </a:txBody>
                  <a:tcPr/>
                </a:tc>
                <a:tc>
                  <a:txBody>
                    <a:bodyPr/>
                    <a:lstStyle/>
                    <a:p>
                      <a:r>
                        <a:rPr lang="en-GB"/>
                        <a:t>pd.</a:t>
                      </a:r>
                      <a:r>
                        <a:rPr lang="en-GB">
                          <a:solidFill>
                            <a:srgbClr val="00B0F0"/>
                          </a:solidFill>
                        </a:rPr>
                        <a:t>merge</a:t>
                      </a:r>
                      <a:r>
                        <a:rPr lang="en-GB"/>
                        <a:t>(df1, df2, how</a:t>
                      </a:r>
                      <a:r>
                        <a:rPr lang="en-GB">
                          <a:solidFill>
                            <a:srgbClr val="7030A0"/>
                          </a:solidFill>
                        </a:rPr>
                        <a:t>=</a:t>
                      </a:r>
                      <a:r>
                        <a:rPr lang="en-GB">
                          <a:solidFill>
                            <a:srgbClr val="C00000"/>
                          </a:solidFill>
                        </a:rPr>
                        <a:t>“outer”</a:t>
                      </a:r>
                      <a:r>
                        <a:rPr lang="en-GB"/>
                        <a:t>,</a:t>
                      </a:r>
                    </a:p>
                    <a:p>
                      <a:r>
                        <a:rPr lang="en-GB"/>
                        <a:t>                   left_index</a:t>
                      </a:r>
                      <a:r>
                        <a:rPr lang="en-GB">
                          <a:solidFill>
                            <a:srgbClr val="7030A0"/>
                          </a:solidFill>
                        </a:rPr>
                        <a:t>=</a:t>
                      </a:r>
                      <a:r>
                        <a:rPr lang="en-GB" b="1">
                          <a:solidFill>
                            <a:srgbClr val="006600"/>
                          </a:solidFill>
                        </a:rPr>
                        <a:t>True</a:t>
                      </a:r>
                      <a:r>
                        <a:rPr lang="en-GB"/>
                        <a:t>, right_index</a:t>
                      </a:r>
                      <a:r>
                        <a:rPr lang="en-GB">
                          <a:solidFill>
                            <a:srgbClr val="7030A0"/>
                          </a:solidFill>
                        </a:rPr>
                        <a:t>=</a:t>
                      </a:r>
                      <a:r>
                        <a:rPr lang="en-GB" b="1">
                          <a:solidFill>
                            <a:srgbClr val="006600"/>
                          </a:solidFill>
                        </a:rPr>
                        <a:t>True</a:t>
                      </a:r>
                      <a:r>
                        <a:rPr lang="en-GB"/>
                        <a:t>)</a:t>
                      </a:r>
                    </a:p>
                  </a:txBody>
                  <a:tcPr/>
                </a:tc>
                <a:tc>
                  <a:txBody>
                    <a:bodyPr/>
                    <a:lstStyle/>
                    <a:p>
                      <a:r>
                        <a:rPr lang="en-GB"/>
                        <a:t>The “outer” command returns the union of all rows and columns of both </a:t>
                      </a:r>
                      <a:r>
                        <a:rPr lang="en-GB" err="1"/>
                        <a:t>dataframes</a:t>
                      </a:r>
                      <a:r>
                        <a:rPr lang="en-GB"/>
                        <a:t> (df1, df2).</a:t>
                      </a:r>
                    </a:p>
                  </a:txBody>
                  <a:tcPr/>
                </a:tc>
                <a:extLst>
                  <a:ext uri="{0D108BD9-81ED-4DB2-BD59-A6C34878D82A}">
                    <a16:rowId xmlns:a16="http://schemas.microsoft.com/office/drawing/2014/main" val="2304603194"/>
                  </a:ext>
                </a:extLst>
              </a:tr>
              <a:tr h="489746">
                <a:tc>
                  <a:txBody>
                    <a:bodyPr/>
                    <a:lstStyle/>
                    <a:p>
                      <a:r>
                        <a:rPr lang="en-GB"/>
                        <a:t>Inner joi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pd.</a:t>
                      </a:r>
                      <a:r>
                        <a:rPr lang="en-GB">
                          <a:solidFill>
                            <a:srgbClr val="00B0F0"/>
                          </a:solidFill>
                        </a:rPr>
                        <a:t>merge</a:t>
                      </a:r>
                      <a:r>
                        <a:rPr lang="en-GB"/>
                        <a:t>(df1, df2, how</a:t>
                      </a:r>
                      <a:r>
                        <a:rPr lang="en-GB">
                          <a:solidFill>
                            <a:srgbClr val="7030A0"/>
                          </a:solidFill>
                        </a:rPr>
                        <a:t>= </a:t>
                      </a:r>
                      <a:r>
                        <a:rPr lang="en-GB">
                          <a:solidFill>
                            <a:srgbClr val="C00000"/>
                          </a:solidFill>
                        </a:rPr>
                        <a:t>“inner”</a:t>
                      </a:r>
                      <a:r>
                        <a:rPr lang="en-GB"/>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a:t>                   left_index</a:t>
                      </a:r>
                      <a:r>
                        <a:rPr lang="en-GB">
                          <a:solidFill>
                            <a:srgbClr val="7030A0"/>
                          </a:solidFill>
                        </a:rPr>
                        <a:t>=</a:t>
                      </a:r>
                      <a:r>
                        <a:rPr lang="en-GB" b="1">
                          <a:solidFill>
                            <a:srgbClr val="006600"/>
                          </a:solidFill>
                        </a:rPr>
                        <a:t>True</a:t>
                      </a:r>
                      <a:r>
                        <a:rPr lang="en-GB"/>
                        <a:t>, right_index</a:t>
                      </a:r>
                      <a:r>
                        <a:rPr lang="en-GB">
                          <a:solidFill>
                            <a:srgbClr val="7030A0"/>
                          </a:solidFill>
                        </a:rPr>
                        <a:t>=</a:t>
                      </a:r>
                      <a:r>
                        <a:rPr lang="en-GB" b="1">
                          <a:solidFill>
                            <a:srgbClr val="006600"/>
                          </a:solidFill>
                        </a:rPr>
                        <a:t>True</a:t>
                      </a:r>
                      <a:r>
                        <a:rPr lang="en-GB"/>
                        <a:t>)</a:t>
                      </a:r>
                    </a:p>
                  </a:txBody>
                  <a:tcPr/>
                </a:tc>
                <a:tc>
                  <a:txBody>
                    <a:bodyPr/>
                    <a:lstStyle/>
                    <a:p>
                      <a:r>
                        <a:rPr lang="en-GB"/>
                        <a:t>The “inner” command returns the rows and columns that correspond to the intersection of the </a:t>
                      </a:r>
                      <a:r>
                        <a:rPr lang="en-GB" err="1"/>
                        <a:t>dataframes</a:t>
                      </a:r>
                      <a:r>
                        <a:rPr lang="en-GB"/>
                        <a:t>.</a:t>
                      </a:r>
                    </a:p>
                  </a:txBody>
                  <a:tcPr/>
                </a:tc>
                <a:extLst>
                  <a:ext uri="{0D108BD9-81ED-4DB2-BD59-A6C34878D82A}">
                    <a16:rowId xmlns:a16="http://schemas.microsoft.com/office/drawing/2014/main" val="3776427885"/>
                  </a:ext>
                </a:extLst>
              </a:tr>
              <a:tr h="490999">
                <a:tc>
                  <a:txBody>
                    <a:bodyPr/>
                    <a:lstStyle/>
                    <a:p>
                      <a:r>
                        <a:rPr lang="en-GB"/>
                        <a:t>Left joi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pd.</a:t>
                      </a:r>
                      <a:r>
                        <a:rPr lang="en-GB">
                          <a:solidFill>
                            <a:srgbClr val="00B0F0"/>
                          </a:solidFill>
                        </a:rPr>
                        <a:t>merge</a:t>
                      </a:r>
                      <a:r>
                        <a:rPr lang="en-GB"/>
                        <a:t>(df1, df2, how</a:t>
                      </a:r>
                      <a:r>
                        <a:rPr lang="en-GB">
                          <a:solidFill>
                            <a:srgbClr val="7030A0"/>
                          </a:solidFill>
                        </a:rPr>
                        <a:t>= </a:t>
                      </a:r>
                      <a:r>
                        <a:rPr lang="en-GB">
                          <a:solidFill>
                            <a:srgbClr val="C00000"/>
                          </a:solidFill>
                        </a:rPr>
                        <a:t>“left”</a:t>
                      </a:r>
                      <a:r>
                        <a:rPr lang="en-GB"/>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a:t>                   left_index</a:t>
                      </a:r>
                      <a:r>
                        <a:rPr lang="en-GB">
                          <a:solidFill>
                            <a:srgbClr val="7030A0"/>
                          </a:solidFill>
                        </a:rPr>
                        <a:t>=</a:t>
                      </a:r>
                      <a:r>
                        <a:rPr lang="en-GB" b="1">
                          <a:solidFill>
                            <a:srgbClr val="006600"/>
                          </a:solidFill>
                        </a:rPr>
                        <a:t>True</a:t>
                      </a:r>
                      <a:r>
                        <a:rPr lang="en-GB"/>
                        <a:t>, right_index</a:t>
                      </a:r>
                      <a:r>
                        <a:rPr lang="en-GB">
                          <a:solidFill>
                            <a:srgbClr val="7030A0"/>
                          </a:solidFill>
                        </a:rPr>
                        <a:t>=</a:t>
                      </a:r>
                      <a:r>
                        <a:rPr lang="en-GB" b="1">
                          <a:solidFill>
                            <a:srgbClr val="006600"/>
                          </a:solidFill>
                        </a:rPr>
                        <a:t>True</a:t>
                      </a:r>
                      <a:r>
                        <a:rPr lang="en-GB"/>
                        <a:t>)</a:t>
                      </a:r>
                    </a:p>
                  </a:txBody>
                  <a:tcPr/>
                </a:tc>
                <a:tc>
                  <a:txBody>
                    <a:bodyPr/>
                    <a:lstStyle/>
                    <a:p>
                      <a:r>
                        <a:rPr lang="en-GB"/>
                        <a:t>“left” join returns all rows and columns of the left </a:t>
                      </a:r>
                      <a:r>
                        <a:rPr lang="en-GB" err="1"/>
                        <a:t>dataframe</a:t>
                      </a:r>
                      <a:r>
                        <a:rPr lang="en-GB"/>
                        <a:t> (df1) and the intersection with df2.</a:t>
                      </a:r>
                    </a:p>
                  </a:txBody>
                  <a:tcPr/>
                </a:tc>
                <a:extLst>
                  <a:ext uri="{0D108BD9-81ED-4DB2-BD59-A6C34878D82A}">
                    <a16:rowId xmlns:a16="http://schemas.microsoft.com/office/drawing/2014/main" val="3302389115"/>
                  </a:ext>
                </a:extLst>
              </a:tr>
              <a:tr h="520435">
                <a:tc>
                  <a:txBody>
                    <a:bodyPr/>
                    <a:lstStyle/>
                    <a:p>
                      <a:r>
                        <a:rPr lang="en-GB"/>
                        <a:t>Right joi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pd.</a:t>
                      </a:r>
                      <a:r>
                        <a:rPr lang="en-GB">
                          <a:solidFill>
                            <a:srgbClr val="00B0F0"/>
                          </a:solidFill>
                        </a:rPr>
                        <a:t>merge</a:t>
                      </a:r>
                      <a:r>
                        <a:rPr lang="en-GB"/>
                        <a:t>(df1, df2, how</a:t>
                      </a:r>
                      <a:r>
                        <a:rPr lang="en-GB">
                          <a:solidFill>
                            <a:srgbClr val="7030A0"/>
                          </a:solidFill>
                        </a:rPr>
                        <a:t>= </a:t>
                      </a:r>
                      <a:r>
                        <a:rPr lang="en-GB">
                          <a:solidFill>
                            <a:srgbClr val="C00000"/>
                          </a:solidFill>
                        </a:rPr>
                        <a:t>“right”</a:t>
                      </a:r>
                      <a:r>
                        <a:rPr lang="en-GB"/>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a:t>                   left_index</a:t>
                      </a:r>
                      <a:r>
                        <a:rPr lang="en-GB">
                          <a:solidFill>
                            <a:srgbClr val="7030A0"/>
                          </a:solidFill>
                        </a:rPr>
                        <a:t>=</a:t>
                      </a:r>
                      <a:r>
                        <a:rPr lang="en-GB" b="1">
                          <a:solidFill>
                            <a:srgbClr val="006600"/>
                          </a:solidFill>
                        </a:rPr>
                        <a:t>True</a:t>
                      </a:r>
                      <a:r>
                        <a:rPr lang="en-GB"/>
                        <a:t>, right_index</a:t>
                      </a:r>
                      <a:r>
                        <a:rPr lang="en-GB">
                          <a:solidFill>
                            <a:srgbClr val="7030A0"/>
                          </a:solidFill>
                        </a:rPr>
                        <a:t>=</a:t>
                      </a:r>
                      <a:r>
                        <a:rPr lang="en-GB" b="1">
                          <a:solidFill>
                            <a:srgbClr val="006600"/>
                          </a:solidFill>
                        </a:rPr>
                        <a:t>True</a:t>
                      </a:r>
                      <a:r>
                        <a:rPr lang="en-GB"/>
                        <a: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right” join returns all rows and columns of the right </a:t>
                      </a:r>
                      <a:r>
                        <a:rPr lang="en-GB" err="1"/>
                        <a:t>dataframe</a:t>
                      </a:r>
                      <a:r>
                        <a:rPr lang="en-GB"/>
                        <a:t> (df2) and the intersection with df1.</a:t>
                      </a:r>
                    </a:p>
                  </a:txBody>
                  <a:tcPr/>
                </a:tc>
                <a:extLst>
                  <a:ext uri="{0D108BD9-81ED-4DB2-BD59-A6C34878D82A}">
                    <a16:rowId xmlns:a16="http://schemas.microsoft.com/office/drawing/2014/main" val="311392449"/>
                  </a:ext>
                </a:extLst>
              </a:tr>
            </a:tbl>
          </a:graphicData>
        </a:graphic>
      </p:graphicFrame>
    </p:spTree>
    <p:extLst>
      <p:ext uri="{BB962C8B-B14F-4D97-AF65-F5344CB8AC3E}">
        <p14:creationId xmlns:p14="http://schemas.microsoft.com/office/powerpoint/2010/main" val="2938934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297923-967D-4302-20C1-14D27CC1FD17}"/>
              </a:ext>
            </a:extLst>
          </p:cNvPr>
          <p:cNvSpPr>
            <a:spLocks noGrp="1"/>
          </p:cNvSpPr>
          <p:nvPr>
            <p:ph type="title"/>
          </p:nvPr>
        </p:nvSpPr>
        <p:spPr/>
        <p:txBody>
          <a:bodyPr/>
          <a:lstStyle/>
          <a:p>
            <a:r>
              <a:rPr lang="en-GB"/>
              <a:t>Merging </a:t>
            </a:r>
            <a:r>
              <a:rPr lang="en-GB" err="1"/>
              <a:t>dataframes</a:t>
            </a:r>
            <a:r>
              <a:rPr lang="en-GB"/>
              <a:t> – on column</a:t>
            </a:r>
          </a:p>
        </p:txBody>
      </p:sp>
      <p:sp>
        <p:nvSpPr>
          <p:cNvPr id="4" name="Slide Number Placeholder 3">
            <a:extLst>
              <a:ext uri="{FF2B5EF4-FFF2-40B4-BE49-F238E27FC236}">
                <a16:creationId xmlns:a16="http://schemas.microsoft.com/office/drawing/2014/main" id="{4269AB93-BF5B-E19C-FEC2-D650739E9CC4}"/>
              </a:ext>
            </a:extLst>
          </p:cNvPr>
          <p:cNvSpPr>
            <a:spLocks noGrp="1"/>
          </p:cNvSpPr>
          <p:nvPr>
            <p:ph type="sldNum" sz="quarter" idx="12"/>
          </p:nvPr>
        </p:nvSpPr>
        <p:spPr/>
        <p:txBody>
          <a:bodyPr/>
          <a:lstStyle/>
          <a:p>
            <a:fld id="{7559FC98-AF75-4A00-A03C-DF9FEBF6BCB9}" type="slidenum">
              <a:rPr lang="en-GB" smtClean="0"/>
              <a:pPr/>
              <a:t>13</a:t>
            </a:fld>
            <a:endParaRPr lang="en-GB"/>
          </a:p>
        </p:txBody>
      </p:sp>
      <p:sp>
        <p:nvSpPr>
          <p:cNvPr id="3" name="TextBox 2">
            <a:extLst>
              <a:ext uri="{FF2B5EF4-FFF2-40B4-BE49-F238E27FC236}">
                <a16:creationId xmlns:a16="http://schemas.microsoft.com/office/drawing/2014/main" id="{ADD6F462-8A5A-74A4-5E02-15C15897DA6A}"/>
              </a:ext>
            </a:extLst>
          </p:cNvPr>
          <p:cNvSpPr txBox="1"/>
          <p:nvPr/>
        </p:nvSpPr>
        <p:spPr>
          <a:xfrm>
            <a:off x="306029" y="1285076"/>
            <a:ext cx="8533171" cy="300082"/>
          </a:xfrm>
          <a:prstGeom prst="rect">
            <a:avLst/>
          </a:prstGeom>
          <a:noFill/>
        </p:spPr>
        <p:txBody>
          <a:bodyPr wrap="square" rtlCol="0">
            <a:spAutoFit/>
          </a:bodyPr>
          <a:lstStyle/>
          <a:p>
            <a:r>
              <a:rPr lang="en-GB"/>
              <a:t>We can also merge two </a:t>
            </a:r>
            <a:r>
              <a:rPr lang="en-GB" err="1"/>
              <a:t>dataframes</a:t>
            </a:r>
            <a:r>
              <a:rPr lang="en-GB"/>
              <a:t> on a column of our choice. In this case, the syntax of the merge command is:</a:t>
            </a:r>
          </a:p>
        </p:txBody>
      </p:sp>
      <p:sp>
        <p:nvSpPr>
          <p:cNvPr id="5" name="TextBox 4">
            <a:extLst>
              <a:ext uri="{FF2B5EF4-FFF2-40B4-BE49-F238E27FC236}">
                <a16:creationId xmlns:a16="http://schemas.microsoft.com/office/drawing/2014/main" id="{F4F31B9C-798C-938A-EA32-DB767BDD31AE}"/>
              </a:ext>
            </a:extLst>
          </p:cNvPr>
          <p:cNvSpPr txBox="1"/>
          <p:nvPr/>
        </p:nvSpPr>
        <p:spPr>
          <a:xfrm>
            <a:off x="1178734" y="1825215"/>
            <a:ext cx="6788437" cy="507831"/>
          </a:xfrm>
          <a:prstGeom prst="rect">
            <a:avLst/>
          </a:prstGeom>
          <a:noFill/>
        </p:spPr>
        <p:txBody>
          <a:bodyPr wrap="square" rtlCol="0">
            <a:spAutoFit/>
          </a:bodyPr>
          <a:lstStyle/>
          <a:p>
            <a:pPr algn="ctr"/>
            <a:r>
              <a:rPr lang="en-GB" err="1"/>
              <a:t>pd.</a:t>
            </a:r>
            <a:r>
              <a:rPr lang="en-GB" err="1">
                <a:solidFill>
                  <a:srgbClr val="00B0F0"/>
                </a:solidFill>
              </a:rPr>
              <a:t>merge</a:t>
            </a:r>
            <a:r>
              <a:rPr lang="en-GB"/>
              <a:t>(df1, df2, how</a:t>
            </a:r>
            <a:r>
              <a:rPr lang="en-GB">
                <a:solidFill>
                  <a:srgbClr val="7030A0"/>
                </a:solidFill>
              </a:rPr>
              <a:t>=</a:t>
            </a:r>
            <a:r>
              <a:rPr lang="en-GB">
                <a:solidFill>
                  <a:srgbClr val="C00000"/>
                </a:solidFill>
              </a:rPr>
              <a:t>“outer”</a:t>
            </a:r>
            <a:r>
              <a:rPr lang="en-GB"/>
              <a:t>, </a:t>
            </a:r>
            <a:r>
              <a:rPr lang="en-GB" err="1"/>
              <a:t>left_on</a:t>
            </a:r>
            <a:r>
              <a:rPr lang="en-GB">
                <a:solidFill>
                  <a:srgbClr val="7030A0"/>
                </a:solidFill>
              </a:rPr>
              <a:t>=</a:t>
            </a:r>
            <a:r>
              <a:rPr lang="en-GB">
                <a:solidFill>
                  <a:srgbClr val="C00000"/>
                </a:solidFill>
              </a:rPr>
              <a:t>‘column_name_df1’,</a:t>
            </a:r>
            <a:r>
              <a:rPr lang="en-GB"/>
              <a:t> </a:t>
            </a:r>
            <a:r>
              <a:rPr lang="en-GB" err="1"/>
              <a:t>right_on</a:t>
            </a:r>
            <a:r>
              <a:rPr lang="en-GB">
                <a:solidFill>
                  <a:srgbClr val="7030A0"/>
                </a:solidFill>
              </a:rPr>
              <a:t>=</a:t>
            </a:r>
            <a:r>
              <a:rPr lang="en-GB">
                <a:solidFill>
                  <a:srgbClr val="C00000"/>
                </a:solidFill>
              </a:rPr>
              <a:t>‘column_name_df2’</a:t>
            </a:r>
            <a:r>
              <a:rPr lang="en-GB"/>
              <a:t>)</a:t>
            </a:r>
          </a:p>
          <a:p>
            <a:pPr algn="ctr"/>
            <a:endParaRPr lang="en-GB"/>
          </a:p>
        </p:txBody>
      </p:sp>
      <p:sp>
        <p:nvSpPr>
          <p:cNvPr id="6" name="TextBox 5">
            <a:extLst>
              <a:ext uri="{FF2B5EF4-FFF2-40B4-BE49-F238E27FC236}">
                <a16:creationId xmlns:a16="http://schemas.microsoft.com/office/drawing/2014/main" id="{F09336A7-D3AF-A85C-4CCB-06FF46112EF0}"/>
              </a:ext>
            </a:extLst>
          </p:cNvPr>
          <p:cNvSpPr txBox="1"/>
          <p:nvPr/>
        </p:nvSpPr>
        <p:spPr>
          <a:xfrm>
            <a:off x="306029" y="2359743"/>
            <a:ext cx="8533171" cy="923330"/>
          </a:xfrm>
          <a:prstGeom prst="rect">
            <a:avLst/>
          </a:prstGeom>
          <a:noFill/>
        </p:spPr>
        <p:txBody>
          <a:bodyPr wrap="square" rtlCol="0">
            <a:spAutoFit/>
          </a:bodyPr>
          <a:lstStyle/>
          <a:p>
            <a:r>
              <a:rPr lang="en-GB"/>
              <a:t>In this case, the </a:t>
            </a:r>
            <a:r>
              <a:rPr lang="en-GB" b="1"/>
              <a:t>left/</a:t>
            </a:r>
            <a:r>
              <a:rPr lang="en-GB" b="1" err="1"/>
              <a:t>right_index</a:t>
            </a:r>
            <a:r>
              <a:rPr lang="en-GB" b="1"/>
              <a:t> </a:t>
            </a:r>
            <a:r>
              <a:rPr lang="en-GB"/>
              <a:t>changes to </a:t>
            </a:r>
            <a:r>
              <a:rPr lang="en-GB" b="1"/>
              <a:t>left/</a:t>
            </a:r>
            <a:r>
              <a:rPr lang="en-GB" b="1" err="1"/>
              <a:t>right_on</a:t>
            </a:r>
            <a:r>
              <a:rPr lang="en-GB"/>
              <a:t>. For each one we must pass a column name from the adjacent </a:t>
            </a:r>
            <a:r>
              <a:rPr lang="en-GB" err="1"/>
              <a:t>dataframe</a:t>
            </a:r>
            <a:r>
              <a:rPr lang="en-GB"/>
              <a:t>. (</a:t>
            </a:r>
            <a:r>
              <a:rPr lang="en-GB" err="1"/>
              <a:t>left_on</a:t>
            </a:r>
            <a:r>
              <a:rPr lang="en-GB"/>
              <a:t> receives a column from the left </a:t>
            </a:r>
            <a:r>
              <a:rPr lang="en-GB" err="1"/>
              <a:t>dataframe</a:t>
            </a:r>
            <a:r>
              <a:rPr lang="en-GB"/>
              <a:t>, </a:t>
            </a:r>
            <a:r>
              <a:rPr lang="en-GB" err="1"/>
              <a:t>right_on</a:t>
            </a:r>
            <a:r>
              <a:rPr lang="en-GB"/>
              <a:t> receives a column from the right </a:t>
            </a:r>
            <a:r>
              <a:rPr lang="en-GB" err="1"/>
              <a:t>dataframe</a:t>
            </a:r>
            <a:r>
              <a:rPr lang="en-GB"/>
              <a:t>). We can also pass a </a:t>
            </a:r>
            <a:r>
              <a:rPr lang="en-GB" b="1"/>
              <a:t>list of column names </a:t>
            </a:r>
            <a:r>
              <a:rPr lang="en-GB"/>
              <a:t>for left/</a:t>
            </a:r>
            <a:r>
              <a:rPr lang="en-GB" err="1"/>
              <a:t>right_on</a:t>
            </a:r>
            <a:r>
              <a:rPr lang="en-GB"/>
              <a:t>, or com</a:t>
            </a:r>
            <a:r>
              <a:rPr lang="en-GB" b="1"/>
              <a:t>bine left/</a:t>
            </a:r>
            <a:r>
              <a:rPr lang="en-GB" b="1" err="1"/>
              <a:t>right_on</a:t>
            </a:r>
            <a:r>
              <a:rPr lang="en-GB" b="1"/>
              <a:t> with right/</a:t>
            </a:r>
            <a:r>
              <a:rPr lang="en-GB" b="1" err="1"/>
              <a:t>left_index</a:t>
            </a:r>
            <a:r>
              <a:rPr lang="en-GB"/>
              <a:t>.</a:t>
            </a:r>
          </a:p>
        </p:txBody>
      </p:sp>
      <p:sp>
        <p:nvSpPr>
          <p:cNvPr id="7" name="TextBox 6">
            <a:extLst>
              <a:ext uri="{FF2B5EF4-FFF2-40B4-BE49-F238E27FC236}">
                <a16:creationId xmlns:a16="http://schemas.microsoft.com/office/drawing/2014/main" id="{35485308-BE20-8F65-3422-994888097EC8}"/>
              </a:ext>
            </a:extLst>
          </p:cNvPr>
          <p:cNvSpPr txBox="1"/>
          <p:nvPr/>
        </p:nvSpPr>
        <p:spPr>
          <a:xfrm>
            <a:off x="274320" y="3710940"/>
            <a:ext cx="8595360" cy="300082"/>
          </a:xfrm>
          <a:prstGeom prst="rect">
            <a:avLst/>
          </a:prstGeom>
          <a:noFill/>
        </p:spPr>
        <p:txBody>
          <a:bodyPr wrap="square" rtlCol="0">
            <a:spAutoFit/>
          </a:bodyPr>
          <a:lstStyle/>
          <a:p>
            <a:r>
              <a:rPr lang="en-GB"/>
              <a:t>.</a:t>
            </a:r>
            <a:r>
              <a:rPr lang="en-GB">
                <a:solidFill>
                  <a:srgbClr val="00B0F0"/>
                </a:solidFill>
              </a:rPr>
              <a:t>merge </a:t>
            </a:r>
            <a:r>
              <a:rPr lang="en-GB"/>
              <a:t>documentation: </a:t>
            </a:r>
            <a:r>
              <a:rPr lang="en-GB">
                <a:hlinkClick r:id="rId2"/>
              </a:rPr>
              <a:t>https://pandas.pydata.org/docs/reference/api/pandas.DataFrame.merge.html</a:t>
            </a:r>
            <a:r>
              <a:rPr lang="en-GB"/>
              <a:t> </a:t>
            </a:r>
          </a:p>
        </p:txBody>
      </p:sp>
    </p:spTree>
    <p:extLst>
      <p:ext uri="{BB962C8B-B14F-4D97-AF65-F5344CB8AC3E}">
        <p14:creationId xmlns:p14="http://schemas.microsoft.com/office/powerpoint/2010/main" val="6170358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134C2C-35CA-BD62-B572-5C355FFBD7E1}"/>
              </a:ext>
            </a:extLst>
          </p:cNvPr>
          <p:cNvSpPr>
            <a:spLocks noGrp="1"/>
          </p:cNvSpPr>
          <p:nvPr>
            <p:ph type="title"/>
          </p:nvPr>
        </p:nvSpPr>
        <p:spPr/>
        <p:txBody>
          <a:bodyPr/>
          <a:lstStyle/>
          <a:p>
            <a:r>
              <a:rPr lang="en-GB"/>
              <a:t>Applying functions to </a:t>
            </a:r>
            <a:r>
              <a:rPr lang="en-GB" err="1"/>
              <a:t>dataframe</a:t>
            </a:r>
            <a:r>
              <a:rPr lang="en-GB"/>
              <a:t> rows or columns</a:t>
            </a:r>
          </a:p>
        </p:txBody>
      </p:sp>
      <p:sp>
        <p:nvSpPr>
          <p:cNvPr id="4" name="Slide Number Placeholder 3">
            <a:extLst>
              <a:ext uri="{FF2B5EF4-FFF2-40B4-BE49-F238E27FC236}">
                <a16:creationId xmlns:a16="http://schemas.microsoft.com/office/drawing/2014/main" id="{4CBB9F3F-D2D3-427F-D862-4CBE96ABA4F9}"/>
              </a:ext>
            </a:extLst>
          </p:cNvPr>
          <p:cNvSpPr>
            <a:spLocks noGrp="1"/>
          </p:cNvSpPr>
          <p:nvPr>
            <p:ph type="sldNum" sz="quarter" idx="12"/>
          </p:nvPr>
        </p:nvSpPr>
        <p:spPr/>
        <p:txBody>
          <a:bodyPr/>
          <a:lstStyle/>
          <a:p>
            <a:fld id="{7559FC98-AF75-4A00-A03C-DF9FEBF6BCB9}" type="slidenum">
              <a:rPr lang="en-GB" smtClean="0"/>
              <a:pPr/>
              <a:t>14</a:t>
            </a:fld>
            <a:endParaRPr lang="en-GB"/>
          </a:p>
        </p:txBody>
      </p:sp>
      <p:sp>
        <p:nvSpPr>
          <p:cNvPr id="5" name="TextBox 4">
            <a:extLst>
              <a:ext uri="{FF2B5EF4-FFF2-40B4-BE49-F238E27FC236}">
                <a16:creationId xmlns:a16="http://schemas.microsoft.com/office/drawing/2014/main" id="{C073C2BA-E967-0FE0-61CA-18E79FECC6AB}"/>
              </a:ext>
            </a:extLst>
          </p:cNvPr>
          <p:cNvSpPr txBox="1"/>
          <p:nvPr/>
        </p:nvSpPr>
        <p:spPr>
          <a:xfrm>
            <a:off x="358776" y="1285976"/>
            <a:ext cx="8426450" cy="507831"/>
          </a:xfrm>
          <a:prstGeom prst="rect">
            <a:avLst/>
          </a:prstGeom>
          <a:noFill/>
        </p:spPr>
        <p:txBody>
          <a:bodyPr wrap="square" rtlCol="0">
            <a:spAutoFit/>
          </a:bodyPr>
          <a:lstStyle/>
          <a:p>
            <a:r>
              <a:rPr lang="en-GB"/>
              <a:t>To apply a function on </a:t>
            </a:r>
            <a:r>
              <a:rPr lang="en-GB" err="1"/>
              <a:t>dataframe</a:t>
            </a:r>
            <a:r>
              <a:rPr lang="en-GB"/>
              <a:t> rows or columns, pandas provides the .</a:t>
            </a:r>
            <a:r>
              <a:rPr lang="en-GB">
                <a:solidFill>
                  <a:srgbClr val="00B0F0"/>
                </a:solidFill>
              </a:rPr>
              <a:t>apply</a:t>
            </a:r>
            <a:r>
              <a:rPr lang="en-GB"/>
              <a:t>()</a:t>
            </a:r>
            <a:r>
              <a:rPr lang="en-GB">
                <a:solidFill>
                  <a:schemeClr val="accent5">
                    <a:lumMod val="75000"/>
                  </a:schemeClr>
                </a:solidFill>
              </a:rPr>
              <a:t> </a:t>
            </a:r>
            <a:r>
              <a:rPr lang="en-GB"/>
              <a:t>method. This method is used to </a:t>
            </a:r>
            <a:r>
              <a:rPr lang="en-GB" i="1"/>
              <a:t>map</a:t>
            </a:r>
            <a:r>
              <a:rPr lang="en-GB"/>
              <a:t> a specific function on specific rows or columns of the table (or on the whole table).</a:t>
            </a:r>
          </a:p>
        </p:txBody>
      </p:sp>
      <p:sp>
        <p:nvSpPr>
          <p:cNvPr id="6" name="TextBox 5">
            <a:extLst>
              <a:ext uri="{FF2B5EF4-FFF2-40B4-BE49-F238E27FC236}">
                <a16:creationId xmlns:a16="http://schemas.microsoft.com/office/drawing/2014/main" id="{2BA5CD2A-384D-36EC-2130-4DFDFDB36414}"/>
              </a:ext>
            </a:extLst>
          </p:cNvPr>
          <p:cNvSpPr txBox="1"/>
          <p:nvPr/>
        </p:nvSpPr>
        <p:spPr>
          <a:xfrm>
            <a:off x="2781300" y="1945431"/>
            <a:ext cx="3571240" cy="300082"/>
          </a:xfrm>
          <a:prstGeom prst="rect">
            <a:avLst/>
          </a:prstGeom>
          <a:noFill/>
        </p:spPr>
        <p:txBody>
          <a:bodyPr wrap="square" rtlCol="0">
            <a:spAutoFit/>
          </a:bodyPr>
          <a:lstStyle/>
          <a:p>
            <a:r>
              <a:rPr lang="en-GB"/>
              <a:t>Syntax: </a:t>
            </a:r>
            <a:r>
              <a:rPr lang="en-GB" err="1"/>
              <a:t>df.</a:t>
            </a:r>
            <a:r>
              <a:rPr lang="en-GB" err="1">
                <a:solidFill>
                  <a:srgbClr val="00B0F0"/>
                </a:solidFill>
              </a:rPr>
              <a:t>apply</a:t>
            </a:r>
            <a:r>
              <a:rPr lang="en-GB"/>
              <a:t>(</a:t>
            </a:r>
            <a:r>
              <a:rPr lang="en-GB">
                <a:solidFill>
                  <a:srgbClr val="006600"/>
                </a:solidFill>
              </a:rPr>
              <a:t>lambda</a:t>
            </a:r>
            <a:r>
              <a:rPr lang="en-GB"/>
              <a:t> x: x </a:t>
            </a:r>
            <a:r>
              <a:rPr lang="en-GB" i="1"/>
              <a:t>operation</a:t>
            </a:r>
            <a:r>
              <a:rPr lang="en-GB"/>
              <a:t>, axis</a:t>
            </a:r>
            <a:r>
              <a:rPr lang="en-GB">
                <a:solidFill>
                  <a:srgbClr val="7030A0"/>
                </a:solidFill>
              </a:rPr>
              <a:t>=</a:t>
            </a:r>
            <a:r>
              <a:rPr lang="en-GB">
                <a:solidFill>
                  <a:srgbClr val="006600"/>
                </a:solidFill>
              </a:rPr>
              <a:t>1</a:t>
            </a:r>
            <a:r>
              <a:rPr lang="en-GB"/>
              <a:t>)</a:t>
            </a:r>
          </a:p>
        </p:txBody>
      </p:sp>
      <p:sp>
        <p:nvSpPr>
          <p:cNvPr id="7" name="TextBox 6">
            <a:extLst>
              <a:ext uri="{FF2B5EF4-FFF2-40B4-BE49-F238E27FC236}">
                <a16:creationId xmlns:a16="http://schemas.microsoft.com/office/drawing/2014/main" id="{8EE14775-2C28-243E-E687-59273DD0C88B}"/>
              </a:ext>
            </a:extLst>
          </p:cNvPr>
          <p:cNvSpPr txBox="1"/>
          <p:nvPr/>
        </p:nvSpPr>
        <p:spPr>
          <a:xfrm>
            <a:off x="358774" y="2328195"/>
            <a:ext cx="8426451" cy="1131079"/>
          </a:xfrm>
          <a:prstGeom prst="rect">
            <a:avLst/>
          </a:prstGeom>
          <a:noFill/>
        </p:spPr>
        <p:txBody>
          <a:bodyPr wrap="square" rtlCol="0">
            <a:spAutoFit/>
          </a:bodyPr>
          <a:lstStyle/>
          <a:p>
            <a:pPr marL="285750" indent="-285750">
              <a:buFont typeface="Arial" panose="020B0604020202020204" pitchFamily="34" charset="0"/>
              <a:buChar char="•"/>
            </a:pPr>
            <a:r>
              <a:rPr lang="en-GB" b="1"/>
              <a:t>Axis</a:t>
            </a:r>
            <a:r>
              <a:rPr lang="en-GB"/>
              <a:t>: axis=1 indicates that the function is going to be applied to each row of the </a:t>
            </a:r>
            <a:r>
              <a:rPr lang="en-GB" err="1"/>
              <a:t>DataFrame</a:t>
            </a:r>
            <a:r>
              <a:rPr lang="en-GB"/>
              <a:t>. </a:t>
            </a:r>
          </a:p>
          <a:p>
            <a:pPr lvl="1"/>
            <a:r>
              <a:rPr lang="en-GB"/>
              <a:t>        axis=0 indicates applying the function to each column</a:t>
            </a:r>
          </a:p>
          <a:p>
            <a:pPr lvl="1"/>
            <a:endParaRPr lang="en-GB"/>
          </a:p>
          <a:p>
            <a:pPr marL="285750" indent="-285750">
              <a:buFont typeface="Arial" panose="020B0604020202020204" pitchFamily="34" charset="0"/>
              <a:buChar char="•"/>
            </a:pPr>
            <a:r>
              <a:rPr lang="en-GB" b="1"/>
              <a:t>Function</a:t>
            </a:r>
            <a:r>
              <a:rPr lang="en-GB"/>
              <a:t>: in the Syntax above, lambda is shown, but we can </a:t>
            </a:r>
            <a:r>
              <a:rPr lang="en-GB" i="1"/>
              <a:t>apply</a:t>
            </a:r>
            <a:r>
              <a:rPr lang="en-GB"/>
              <a:t> any function on a DataFrame through the .</a:t>
            </a:r>
            <a:r>
              <a:rPr lang="en-GB">
                <a:solidFill>
                  <a:srgbClr val="00B0F0"/>
                </a:solidFill>
              </a:rPr>
              <a:t>apply</a:t>
            </a:r>
            <a:r>
              <a:rPr lang="en-GB"/>
              <a:t>() method!</a:t>
            </a:r>
          </a:p>
        </p:txBody>
      </p:sp>
      <p:sp>
        <p:nvSpPr>
          <p:cNvPr id="8" name="TextBox 7">
            <a:extLst>
              <a:ext uri="{FF2B5EF4-FFF2-40B4-BE49-F238E27FC236}">
                <a16:creationId xmlns:a16="http://schemas.microsoft.com/office/drawing/2014/main" id="{8086E97E-0B9A-E9EE-450D-B7AF06E89E5D}"/>
              </a:ext>
            </a:extLst>
          </p:cNvPr>
          <p:cNvSpPr txBox="1"/>
          <p:nvPr/>
        </p:nvSpPr>
        <p:spPr>
          <a:xfrm>
            <a:off x="358775" y="3931920"/>
            <a:ext cx="8426450" cy="300082"/>
          </a:xfrm>
          <a:prstGeom prst="rect">
            <a:avLst/>
          </a:prstGeom>
          <a:noFill/>
        </p:spPr>
        <p:txBody>
          <a:bodyPr wrap="square" rtlCol="0">
            <a:spAutoFit/>
          </a:bodyPr>
          <a:lstStyle/>
          <a:p>
            <a:r>
              <a:rPr lang="en-GB"/>
              <a:t>.</a:t>
            </a:r>
            <a:r>
              <a:rPr lang="en-GB">
                <a:solidFill>
                  <a:srgbClr val="00B0F0"/>
                </a:solidFill>
              </a:rPr>
              <a:t>apply</a:t>
            </a:r>
            <a:r>
              <a:rPr lang="en-GB"/>
              <a:t>() documentation: </a:t>
            </a:r>
            <a:r>
              <a:rPr lang="en-GB">
                <a:hlinkClick r:id="rId2"/>
              </a:rPr>
              <a:t>https://pandas.pydata.org/docs/reference/api/pandas.DataFrame.apply.html</a:t>
            </a:r>
            <a:r>
              <a:rPr lang="en-GB"/>
              <a:t> </a:t>
            </a:r>
          </a:p>
        </p:txBody>
      </p:sp>
    </p:spTree>
    <p:extLst>
      <p:ext uri="{BB962C8B-B14F-4D97-AF65-F5344CB8AC3E}">
        <p14:creationId xmlns:p14="http://schemas.microsoft.com/office/powerpoint/2010/main" val="8799325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A03288-3036-2EFF-7C82-BDFADE3CE2F2}"/>
              </a:ext>
            </a:extLst>
          </p:cNvPr>
          <p:cNvSpPr>
            <a:spLocks noGrp="1"/>
          </p:cNvSpPr>
          <p:nvPr>
            <p:ph type="title"/>
          </p:nvPr>
        </p:nvSpPr>
        <p:spPr/>
        <p:txBody>
          <a:bodyPr/>
          <a:lstStyle/>
          <a:p>
            <a:r>
              <a:rPr lang="en-GB"/>
              <a:t>Other </a:t>
            </a:r>
            <a:r>
              <a:rPr lang="en-GB" err="1"/>
              <a:t>DataFrame</a:t>
            </a:r>
            <a:r>
              <a:rPr lang="en-GB"/>
              <a:t> methods</a:t>
            </a:r>
          </a:p>
        </p:txBody>
      </p:sp>
      <p:sp>
        <p:nvSpPr>
          <p:cNvPr id="4" name="Slide Number Placeholder 3">
            <a:extLst>
              <a:ext uri="{FF2B5EF4-FFF2-40B4-BE49-F238E27FC236}">
                <a16:creationId xmlns:a16="http://schemas.microsoft.com/office/drawing/2014/main" id="{00D906E1-8C8D-D4AC-249E-6E7B0925C483}"/>
              </a:ext>
            </a:extLst>
          </p:cNvPr>
          <p:cNvSpPr>
            <a:spLocks noGrp="1"/>
          </p:cNvSpPr>
          <p:nvPr>
            <p:ph type="sldNum" sz="quarter" idx="12"/>
          </p:nvPr>
        </p:nvSpPr>
        <p:spPr/>
        <p:txBody>
          <a:bodyPr/>
          <a:lstStyle/>
          <a:p>
            <a:fld id="{7559FC98-AF75-4A00-A03C-DF9FEBF6BCB9}" type="slidenum">
              <a:rPr lang="en-GB" smtClean="0"/>
              <a:pPr/>
              <a:t>15</a:t>
            </a:fld>
            <a:endParaRPr lang="en-GB"/>
          </a:p>
        </p:txBody>
      </p:sp>
      <p:sp>
        <p:nvSpPr>
          <p:cNvPr id="5" name="TextBox 4">
            <a:extLst>
              <a:ext uri="{FF2B5EF4-FFF2-40B4-BE49-F238E27FC236}">
                <a16:creationId xmlns:a16="http://schemas.microsoft.com/office/drawing/2014/main" id="{B950FCE4-B08B-8D5C-0342-C2DEC3886556}"/>
              </a:ext>
            </a:extLst>
          </p:cNvPr>
          <p:cNvSpPr txBox="1"/>
          <p:nvPr/>
        </p:nvSpPr>
        <p:spPr>
          <a:xfrm>
            <a:off x="358775" y="990568"/>
            <a:ext cx="8426450" cy="507831"/>
          </a:xfrm>
          <a:prstGeom prst="rect">
            <a:avLst/>
          </a:prstGeom>
          <a:noFill/>
        </p:spPr>
        <p:txBody>
          <a:bodyPr wrap="square" rtlCol="0">
            <a:spAutoFit/>
          </a:bodyPr>
          <a:lstStyle/>
          <a:p>
            <a:r>
              <a:rPr lang="en-GB"/>
              <a:t>There are many built-in functions that can be used on </a:t>
            </a:r>
            <a:r>
              <a:rPr lang="en-GB" err="1"/>
              <a:t>DataFrames</a:t>
            </a:r>
            <a:r>
              <a:rPr lang="en-GB"/>
              <a:t>. The following list shows some useful ones. These function must be applied to a column instead of a row:</a:t>
            </a:r>
          </a:p>
        </p:txBody>
      </p:sp>
      <p:graphicFrame>
        <p:nvGraphicFramePr>
          <p:cNvPr id="6" name="Table 4">
            <a:extLst>
              <a:ext uri="{FF2B5EF4-FFF2-40B4-BE49-F238E27FC236}">
                <a16:creationId xmlns:a16="http://schemas.microsoft.com/office/drawing/2014/main" id="{A818F6DB-15B4-D95F-E944-52AF4CA21546}"/>
              </a:ext>
            </a:extLst>
          </p:cNvPr>
          <p:cNvGraphicFramePr>
            <a:graphicFrameLocks noGrp="1"/>
          </p:cNvGraphicFramePr>
          <p:nvPr/>
        </p:nvGraphicFramePr>
        <p:xfrm>
          <a:off x="906408" y="1877169"/>
          <a:ext cx="7019999" cy="2088000"/>
        </p:xfrm>
        <a:graphic>
          <a:graphicData uri="http://schemas.openxmlformats.org/drawingml/2006/table">
            <a:tbl>
              <a:tblPr firstRow="1" bandRow="1">
                <a:tableStyleId>{93296810-A885-4BE3-A3E7-6D5BEEA58F35}</a:tableStyleId>
              </a:tblPr>
              <a:tblGrid>
                <a:gridCol w="1248622">
                  <a:extLst>
                    <a:ext uri="{9D8B030D-6E8A-4147-A177-3AD203B41FA5}">
                      <a16:colId xmlns:a16="http://schemas.microsoft.com/office/drawing/2014/main" val="1246191997"/>
                    </a:ext>
                  </a:extLst>
                </a:gridCol>
                <a:gridCol w="3780000">
                  <a:extLst>
                    <a:ext uri="{9D8B030D-6E8A-4147-A177-3AD203B41FA5}">
                      <a16:colId xmlns:a16="http://schemas.microsoft.com/office/drawing/2014/main" val="65903388"/>
                    </a:ext>
                  </a:extLst>
                </a:gridCol>
                <a:gridCol w="1991377">
                  <a:extLst>
                    <a:ext uri="{9D8B030D-6E8A-4147-A177-3AD203B41FA5}">
                      <a16:colId xmlns:a16="http://schemas.microsoft.com/office/drawing/2014/main" val="3020662267"/>
                    </a:ext>
                  </a:extLst>
                </a:gridCol>
              </a:tblGrid>
              <a:tr h="348000">
                <a:tc>
                  <a:txBody>
                    <a:bodyPr/>
                    <a:lstStyle/>
                    <a:p>
                      <a:r>
                        <a:rPr lang="en-GB"/>
                        <a:t>Function</a:t>
                      </a:r>
                    </a:p>
                  </a:txBody>
                  <a:tcPr>
                    <a:solidFill>
                      <a:srgbClr val="006600"/>
                    </a:solidFill>
                  </a:tcPr>
                </a:tc>
                <a:tc>
                  <a:txBody>
                    <a:bodyPr/>
                    <a:lstStyle/>
                    <a:p>
                      <a:r>
                        <a:rPr lang="en-GB"/>
                        <a:t>Explanation</a:t>
                      </a:r>
                    </a:p>
                  </a:txBody>
                  <a:tcPr>
                    <a:solidFill>
                      <a:srgbClr val="006600"/>
                    </a:solidFill>
                  </a:tcPr>
                </a:tc>
                <a:tc>
                  <a:txBody>
                    <a:bodyPr/>
                    <a:lstStyle/>
                    <a:p>
                      <a:r>
                        <a:rPr lang="en-GB"/>
                        <a:t>Syntax</a:t>
                      </a:r>
                    </a:p>
                  </a:txBody>
                  <a:tcPr>
                    <a:solidFill>
                      <a:srgbClr val="006600"/>
                    </a:solidFill>
                  </a:tcPr>
                </a:tc>
                <a:extLst>
                  <a:ext uri="{0D108BD9-81ED-4DB2-BD59-A6C34878D82A}">
                    <a16:rowId xmlns:a16="http://schemas.microsoft.com/office/drawing/2014/main" val="92745604"/>
                  </a:ext>
                </a:extLst>
              </a:tr>
              <a:tr h="348000">
                <a:tc>
                  <a:txBody>
                    <a:bodyPr/>
                    <a:lstStyle/>
                    <a:p>
                      <a:r>
                        <a:rPr lang="en-GB"/>
                        <a:t>mean</a:t>
                      </a:r>
                    </a:p>
                  </a:txBody>
                  <a:tcPr/>
                </a:tc>
                <a:tc>
                  <a:txBody>
                    <a:bodyPr/>
                    <a:lstStyle/>
                    <a:p>
                      <a:r>
                        <a:rPr lang="en-GB"/>
                        <a:t>Returns the mean value of the values in the column</a:t>
                      </a:r>
                    </a:p>
                  </a:txBody>
                  <a:tcPr/>
                </a:tc>
                <a:tc>
                  <a:txBody>
                    <a:bodyPr/>
                    <a:lstStyle/>
                    <a:p>
                      <a:r>
                        <a:rPr lang="en-GB"/>
                        <a:t>df[</a:t>
                      </a:r>
                      <a:r>
                        <a:rPr lang="en-GB">
                          <a:solidFill>
                            <a:srgbClr val="C00000"/>
                          </a:solidFill>
                        </a:rPr>
                        <a:t>‘col_name’</a:t>
                      </a:r>
                      <a:r>
                        <a:rPr lang="en-GB"/>
                        <a:t>].</a:t>
                      </a:r>
                      <a:r>
                        <a:rPr lang="en-GB">
                          <a:solidFill>
                            <a:srgbClr val="00B0F0"/>
                          </a:solidFill>
                        </a:rPr>
                        <a:t>mean</a:t>
                      </a:r>
                      <a:r>
                        <a:rPr lang="en-GB"/>
                        <a:t>()</a:t>
                      </a:r>
                    </a:p>
                  </a:txBody>
                  <a:tcPr/>
                </a:tc>
                <a:extLst>
                  <a:ext uri="{0D108BD9-81ED-4DB2-BD59-A6C34878D82A}">
                    <a16:rowId xmlns:a16="http://schemas.microsoft.com/office/drawing/2014/main" val="1810782770"/>
                  </a:ext>
                </a:extLst>
              </a:tr>
              <a:tr h="348000">
                <a:tc>
                  <a:txBody>
                    <a:bodyPr/>
                    <a:lstStyle/>
                    <a:p>
                      <a:r>
                        <a:rPr lang="en-GB"/>
                        <a:t>min</a:t>
                      </a:r>
                    </a:p>
                  </a:txBody>
                  <a:tcPr/>
                </a:tc>
                <a:tc>
                  <a:txBody>
                    <a:bodyPr/>
                    <a:lstStyle/>
                    <a:p>
                      <a:r>
                        <a:rPr lang="en-GB"/>
                        <a:t>Returns the smallest value</a:t>
                      </a:r>
                    </a:p>
                  </a:txBody>
                  <a:tcPr/>
                </a:tc>
                <a:tc>
                  <a:txBody>
                    <a:bodyPr/>
                    <a:lstStyle/>
                    <a:p>
                      <a:r>
                        <a:rPr lang="en-GB"/>
                        <a:t>df[</a:t>
                      </a:r>
                      <a:r>
                        <a:rPr lang="en-GB">
                          <a:solidFill>
                            <a:srgbClr val="C00000"/>
                          </a:solidFill>
                        </a:rPr>
                        <a:t>‘col_name’</a:t>
                      </a:r>
                      <a:r>
                        <a:rPr lang="en-GB"/>
                        <a:t>].</a:t>
                      </a:r>
                      <a:r>
                        <a:rPr lang="en-GB">
                          <a:solidFill>
                            <a:srgbClr val="00B0F0"/>
                          </a:solidFill>
                        </a:rPr>
                        <a:t>min</a:t>
                      </a:r>
                      <a:r>
                        <a:rPr lang="en-GB"/>
                        <a:t>()</a:t>
                      </a:r>
                    </a:p>
                  </a:txBody>
                  <a:tcPr/>
                </a:tc>
                <a:extLst>
                  <a:ext uri="{0D108BD9-81ED-4DB2-BD59-A6C34878D82A}">
                    <a16:rowId xmlns:a16="http://schemas.microsoft.com/office/drawing/2014/main" val="3028965294"/>
                  </a:ext>
                </a:extLst>
              </a:tr>
              <a:tr h="348000">
                <a:tc>
                  <a:txBody>
                    <a:bodyPr/>
                    <a:lstStyle/>
                    <a:p>
                      <a:r>
                        <a:rPr lang="en-GB"/>
                        <a:t>max</a:t>
                      </a:r>
                    </a:p>
                  </a:txBody>
                  <a:tcPr/>
                </a:tc>
                <a:tc>
                  <a:txBody>
                    <a:bodyPr/>
                    <a:lstStyle/>
                    <a:p>
                      <a:r>
                        <a:rPr lang="en-GB"/>
                        <a:t>Returns the biggest value</a:t>
                      </a:r>
                    </a:p>
                  </a:txBody>
                  <a:tcPr/>
                </a:tc>
                <a:tc>
                  <a:txBody>
                    <a:bodyPr/>
                    <a:lstStyle/>
                    <a:p>
                      <a:r>
                        <a:rPr lang="en-GB"/>
                        <a:t>df[</a:t>
                      </a:r>
                      <a:r>
                        <a:rPr lang="en-GB">
                          <a:solidFill>
                            <a:srgbClr val="C00000"/>
                          </a:solidFill>
                        </a:rPr>
                        <a:t>‘col_name’</a:t>
                      </a:r>
                      <a:r>
                        <a:rPr lang="en-GB"/>
                        <a:t>].</a:t>
                      </a:r>
                      <a:r>
                        <a:rPr lang="en-GB">
                          <a:solidFill>
                            <a:srgbClr val="00B0F0"/>
                          </a:solidFill>
                        </a:rPr>
                        <a:t>max</a:t>
                      </a:r>
                      <a:r>
                        <a:rPr lang="en-GB"/>
                        <a:t>()</a:t>
                      </a:r>
                    </a:p>
                  </a:txBody>
                  <a:tcPr/>
                </a:tc>
                <a:extLst>
                  <a:ext uri="{0D108BD9-81ED-4DB2-BD59-A6C34878D82A}">
                    <a16:rowId xmlns:a16="http://schemas.microsoft.com/office/drawing/2014/main" val="668343403"/>
                  </a:ext>
                </a:extLst>
              </a:tr>
              <a:tr h="348000">
                <a:tc>
                  <a:txBody>
                    <a:bodyPr/>
                    <a:lstStyle/>
                    <a:p>
                      <a:r>
                        <a:rPr lang="en-GB"/>
                        <a:t>std</a:t>
                      </a:r>
                    </a:p>
                  </a:txBody>
                  <a:tcPr/>
                </a:tc>
                <a:tc>
                  <a:txBody>
                    <a:bodyPr/>
                    <a:lstStyle/>
                    <a:p>
                      <a:r>
                        <a:rPr lang="en-GB"/>
                        <a:t>Returns the standard deviation from the mean</a:t>
                      </a:r>
                    </a:p>
                  </a:txBody>
                  <a:tcPr/>
                </a:tc>
                <a:tc>
                  <a:txBody>
                    <a:bodyPr/>
                    <a:lstStyle/>
                    <a:p>
                      <a:r>
                        <a:rPr lang="en-GB"/>
                        <a:t>df[</a:t>
                      </a:r>
                      <a:r>
                        <a:rPr lang="en-GB">
                          <a:solidFill>
                            <a:srgbClr val="C00000"/>
                          </a:solidFill>
                        </a:rPr>
                        <a:t>‘col_name’</a:t>
                      </a:r>
                      <a:r>
                        <a:rPr lang="en-GB"/>
                        <a:t>].</a:t>
                      </a:r>
                      <a:r>
                        <a:rPr lang="en-GB">
                          <a:solidFill>
                            <a:srgbClr val="00B0F0"/>
                          </a:solidFill>
                        </a:rPr>
                        <a:t>std</a:t>
                      </a:r>
                      <a:r>
                        <a:rPr lang="en-GB"/>
                        <a:t>()</a:t>
                      </a:r>
                    </a:p>
                  </a:txBody>
                  <a:tcPr/>
                </a:tc>
                <a:extLst>
                  <a:ext uri="{0D108BD9-81ED-4DB2-BD59-A6C34878D82A}">
                    <a16:rowId xmlns:a16="http://schemas.microsoft.com/office/drawing/2014/main" val="2133861339"/>
                  </a:ext>
                </a:extLst>
              </a:tr>
              <a:tr h="348000">
                <a:tc>
                  <a:txBody>
                    <a:bodyPr/>
                    <a:lstStyle/>
                    <a:p>
                      <a:r>
                        <a:rPr lang="en-GB"/>
                        <a:t>describe</a:t>
                      </a:r>
                    </a:p>
                  </a:txBody>
                  <a:tcPr/>
                </a:tc>
                <a:tc>
                  <a:txBody>
                    <a:bodyPr/>
                    <a:lstStyle/>
                    <a:p>
                      <a:r>
                        <a:rPr lang="en-GB"/>
                        <a:t>Returns various statistics for the selected column</a:t>
                      </a:r>
                    </a:p>
                  </a:txBody>
                  <a:tcPr/>
                </a:tc>
                <a:tc>
                  <a:txBody>
                    <a:bodyPr/>
                    <a:lstStyle/>
                    <a:p>
                      <a:r>
                        <a:rPr lang="en-GB"/>
                        <a:t>df[</a:t>
                      </a:r>
                      <a:r>
                        <a:rPr lang="en-GB">
                          <a:solidFill>
                            <a:srgbClr val="C00000"/>
                          </a:solidFill>
                        </a:rPr>
                        <a:t>‘col_name’</a:t>
                      </a:r>
                      <a:r>
                        <a:rPr lang="en-GB"/>
                        <a:t>].</a:t>
                      </a:r>
                      <a:r>
                        <a:rPr lang="en-GB">
                          <a:solidFill>
                            <a:srgbClr val="00B0F0"/>
                          </a:solidFill>
                        </a:rPr>
                        <a:t>describe</a:t>
                      </a:r>
                      <a:r>
                        <a:rPr lang="en-GB"/>
                        <a:t>()</a:t>
                      </a:r>
                    </a:p>
                  </a:txBody>
                  <a:tcPr/>
                </a:tc>
                <a:extLst>
                  <a:ext uri="{0D108BD9-81ED-4DB2-BD59-A6C34878D82A}">
                    <a16:rowId xmlns:a16="http://schemas.microsoft.com/office/drawing/2014/main" val="1297086780"/>
                  </a:ext>
                </a:extLst>
              </a:tr>
            </a:tbl>
          </a:graphicData>
        </a:graphic>
      </p:graphicFrame>
    </p:spTree>
    <p:extLst>
      <p:ext uri="{BB962C8B-B14F-4D97-AF65-F5344CB8AC3E}">
        <p14:creationId xmlns:p14="http://schemas.microsoft.com/office/powerpoint/2010/main" val="22478783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5B8376-8989-CCEB-DB43-96077A758588}"/>
              </a:ext>
            </a:extLst>
          </p:cNvPr>
          <p:cNvSpPr>
            <a:spLocks noGrp="1"/>
          </p:cNvSpPr>
          <p:nvPr>
            <p:ph type="title"/>
          </p:nvPr>
        </p:nvSpPr>
        <p:spPr/>
        <p:txBody>
          <a:bodyPr/>
          <a:lstStyle/>
          <a:p>
            <a:r>
              <a:rPr lang="en-GB"/>
              <a:t>Dividing a </a:t>
            </a:r>
            <a:r>
              <a:rPr lang="en-GB" err="1"/>
              <a:t>DataFrame</a:t>
            </a:r>
            <a:r>
              <a:rPr lang="en-GB"/>
              <a:t> into groups</a:t>
            </a:r>
          </a:p>
        </p:txBody>
      </p:sp>
      <p:sp>
        <p:nvSpPr>
          <p:cNvPr id="4" name="Slide Number Placeholder 3">
            <a:extLst>
              <a:ext uri="{FF2B5EF4-FFF2-40B4-BE49-F238E27FC236}">
                <a16:creationId xmlns:a16="http://schemas.microsoft.com/office/drawing/2014/main" id="{702B9145-B089-3CDD-DE65-323EBEBF3D7B}"/>
              </a:ext>
            </a:extLst>
          </p:cNvPr>
          <p:cNvSpPr>
            <a:spLocks noGrp="1"/>
          </p:cNvSpPr>
          <p:nvPr>
            <p:ph type="sldNum" sz="quarter" idx="12"/>
          </p:nvPr>
        </p:nvSpPr>
        <p:spPr/>
        <p:txBody>
          <a:bodyPr/>
          <a:lstStyle/>
          <a:p>
            <a:fld id="{7559FC98-AF75-4A00-A03C-DF9FEBF6BCB9}" type="slidenum">
              <a:rPr lang="en-GB" smtClean="0"/>
              <a:pPr/>
              <a:t>16</a:t>
            </a:fld>
            <a:endParaRPr lang="en-GB"/>
          </a:p>
        </p:txBody>
      </p:sp>
      <p:sp>
        <p:nvSpPr>
          <p:cNvPr id="5" name="TextBox 4">
            <a:extLst>
              <a:ext uri="{FF2B5EF4-FFF2-40B4-BE49-F238E27FC236}">
                <a16:creationId xmlns:a16="http://schemas.microsoft.com/office/drawing/2014/main" id="{4B456BFD-A740-DE43-876F-C9CAD10244F7}"/>
              </a:ext>
            </a:extLst>
          </p:cNvPr>
          <p:cNvSpPr txBox="1"/>
          <p:nvPr/>
        </p:nvSpPr>
        <p:spPr>
          <a:xfrm>
            <a:off x="358775" y="1002890"/>
            <a:ext cx="8411804" cy="715581"/>
          </a:xfrm>
          <a:prstGeom prst="rect">
            <a:avLst/>
          </a:prstGeom>
          <a:noFill/>
        </p:spPr>
        <p:txBody>
          <a:bodyPr wrap="square" rtlCol="0">
            <a:spAutoFit/>
          </a:bodyPr>
          <a:lstStyle/>
          <a:p>
            <a:r>
              <a:rPr lang="en-GB"/>
              <a:t>Pandas comes with the .</a:t>
            </a:r>
            <a:r>
              <a:rPr lang="en-GB" err="1">
                <a:solidFill>
                  <a:srgbClr val="00B0F0"/>
                </a:solidFill>
              </a:rPr>
              <a:t>groupby</a:t>
            </a:r>
            <a:r>
              <a:rPr lang="en-GB"/>
              <a:t>() method, which allows to derive insights from data within the </a:t>
            </a:r>
            <a:r>
              <a:rPr lang="en-GB" err="1"/>
              <a:t>DataFrame</a:t>
            </a:r>
            <a:r>
              <a:rPr lang="en-GB"/>
              <a:t>. There are two aspects to consider: First, we need to select the column we want to group by (‘</a:t>
            </a:r>
            <a:r>
              <a:rPr lang="en-GB" err="1"/>
              <a:t>col_name</a:t>
            </a:r>
            <a:r>
              <a:rPr lang="en-GB"/>
              <a:t>’) and second, whether we want to use a function (e.g., mean()).</a:t>
            </a:r>
          </a:p>
        </p:txBody>
      </p:sp>
      <p:sp>
        <p:nvSpPr>
          <p:cNvPr id="6" name="TextBox 5">
            <a:extLst>
              <a:ext uri="{FF2B5EF4-FFF2-40B4-BE49-F238E27FC236}">
                <a16:creationId xmlns:a16="http://schemas.microsoft.com/office/drawing/2014/main" id="{690FDB78-9125-1A8F-5F56-26A2A9DC16E4}"/>
              </a:ext>
            </a:extLst>
          </p:cNvPr>
          <p:cNvSpPr txBox="1"/>
          <p:nvPr/>
        </p:nvSpPr>
        <p:spPr>
          <a:xfrm>
            <a:off x="2122537" y="1776974"/>
            <a:ext cx="4912262" cy="300082"/>
          </a:xfrm>
          <a:prstGeom prst="rect">
            <a:avLst/>
          </a:prstGeom>
          <a:noFill/>
        </p:spPr>
        <p:txBody>
          <a:bodyPr wrap="square" rtlCol="0">
            <a:spAutoFit/>
          </a:bodyPr>
          <a:lstStyle/>
          <a:p>
            <a:pPr algn="ctr"/>
            <a:r>
              <a:rPr lang="en-GB" err="1"/>
              <a:t>df.</a:t>
            </a:r>
            <a:r>
              <a:rPr lang="en-GB" err="1">
                <a:solidFill>
                  <a:srgbClr val="00B0F0"/>
                </a:solidFill>
              </a:rPr>
              <a:t>groupby</a:t>
            </a:r>
            <a:r>
              <a:rPr lang="en-GB"/>
              <a:t>(</a:t>
            </a:r>
            <a:r>
              <a:rPr lang="en-GB">
                <a:solidFill>
                  <a:srgbClr val="C00000"/>
                </a:solidFill>
              </a:rPr>
              <a:t>‘</a:t>
            </a:r>
            <a:r>
              <a:rPr lang="en-GB" err="1">
                <a:solidFill>
                  <a:srgbClr val="C00000"/>
                </a:solidFill>
              </a:rPr>
              <a:t>col_name</a:t>
            </a:r>
            <a:r>
              <a:rPr lang="en-GB">
                <a:solidFill>
                  <a:srgbClr val="C00000"/>
                </a:solidFill>
              </a:rPr>
              <a:t>’</a:t>
            </a:r>
            <a:r>
              <a:rPr lang="en-GB"/>
              <a:t>, </a:t>
            </a:r>
            <a:r>
              <a:rPr lang="en-GB" i="1" err="1"/>
              <a:t>as_index</a:t>
            </a:r>
            <a:r>
              <a:rPr lang="en-GB"/>
              <a:t>)	</a:t>
            </a:r>
            <a:r>
              <a:rPr lang="en-GB">
                <a:solidFill>
                  <a:schemeClr val="bg1">
                    <a:lumMod val="65000"/>
                  </a:schemeClr>
                </a:solidFill>
              </a:rPr>
              <a:t>.</a:t>
            </a:r>
            <a:r>
              <a:rPr lang="en-GB" err="1">
                <a:solidFill>
                  <a:schemeClr val="bg1">
                    <a:lumMod val="65000"/>
                  </a:schemeClr>
                </a:solidFill>
              </a:rPr>
              <a:t>function_name</a:t>
            </a:r>
            <a:r>
              <a:rPr lang="en-GB">
                <a:solidFill>
                  <a:schemeClr val="bg1">
                    <a:lumMod val="65000"/>
                  </a:schemeClr>
                </a:solidFill>
              </a:rPr>
              <a:t>()</a:t>
            </a:r>
          </a:p>
        </p:txBody>
      </p:sp>
      <p:sp>
        <p:nvSpPr>
          <p:cNvPr id="7" name="TextBox 6">
            <a:extLst>
              <a:ext uri="{FF2B5EF4-FFF2-40B4-BE49-F238E27FC236}">
                <a16:creationId xmlns:a16="http://schemas.microsoft.com/office/drawing/2014/main" id="{CC41382F-989D-67B8-EB36-91C73DE2E206}"/>
              </a:ext>
            </a:extLst>
          </p:cNvPr>
          <p:cNvSpPr txBox="1"/>
          <p:nvPr/>
        </p:nvSpPr>
        <p:spPr>
          <a:xfrm>
            <a:off x="358775" y="2224243"/>
            <a:ext cx="8411804" cy="1754326"/>
          </a:xfrm>
          <a:prstGeom prst="rect">
            <a:avLst/>
          </a:prstGeom>
          <a:noFill/>
        </p:spPr>
        <p:txBody>
          <a:bodyPr wrap="square" rtlCol="0">
            <a:spAutoFit/>
          </a:bodyPr>
          <a:lstStyle/>
          <a:p>
            <a:r>
              <a:rPr lang="en-GB"/>
              <a:t>The </a:t>
            </a:r>
            <a:r>
              <a:rPr lang="en-GB" err="1"/>
              <a:t>as_index</a:t>
            </a:r>
            <a:r>
              <a:rPr lang="en-GB"/>
              <a:t> parameter is a Boolean which is True by default. If we leave it as True, the column under ‘</a:t>
            </a:r>
            <a:r>
              <a:rPr lang="en-GB" err="1"/>
              <a:t>col_name</a:t>
            </a:r>
            <a:r>
              <a:rPr lang="en-GB"/>
              <a:t>’ will become the index of the </a:t>
            </a:r>
            <a:r>
              <a:rPr lang="en-GB" err="1"/>
              <a:t>dataframe</a:t>
            </a:r>
            <a:r>
              <a:rPr lang="en-GB"/>
              <a:t> that </a:t>
            </a:r>
            <a:r>
              <a:rPr lang="en-GB" err="1">
                <a:solidFill>
                  <a:srgbClr val="00B0F0"/>
                </a:solidFill>
              </a:rPr>
              <a:t>groupby</a:t>
            </a:r>
            <a:r>
              <a:rPr lang="en-GB"/>
              <a:t>() returns. If we set it to false, default indexes (0,1,2…) are going to be used instead.</a:t>
            </a:r>
          </a:p>
          <a:p>
            <a:endParaRPr lang="en-GB"/>
          </a:p>
          <a:p>
            <a:r>
              <a:rPr lang="en-GB"/>
              <a:t>The power of the .</a:t>
            </a:r>
            <a:r>
              <a:rPr lang="en-GB" err="1">
                <a:solidFill>
                  <a:srgbClr val="00B0F0"/>
                </a:solidFill>
              </a:rPr>
              <a:t>groupby</a:t>
            </a:r>
            <a:r>
              <a:rPr lang="en-GB"/>
              <a:t>() method is that we split data into groups that interest us and then apply different functions on them to gain useful insights. Instead of using .min() or other functions as shown in the slide above, we can also use the .</a:t>
            </a:r>
            <a:r>
              <a:rPr lang="en-GB" err="1">
                <a:solidFill>
                  <a:srgbClr val="00B0F0"/>
                </a:solidFill>
              </a:rPr>
              <a:t>agg</a:t>
            </a:r>
            <a:r>
              <a:rPr lang="en-GB"/>
              <a:t>() method. It takes the function name as an argument (e.g., </a:t>
            </a:r>
            <a:r>
              <a:rPr lang="en-GB" err="1"/>
              <a:t>df.</a:t>
            </a:r>
            <a:r>
              <a:rPr lang="en-GB" err="1">
                <a:solidFill>
                  <a:srgbClr val="00B0F0"/>
                </a:solidFill>
              </a:rPr>
              <a:t>groupby</a:t>
            </a:r>
            <a:r>
              <a:rPr lang="en-GB"/>
              <a:t>(</a:t>
            </a:r>
            <a:r>
              <a:rPr lang="en-GB">
                <a:solidFill>
                  <a:srgbClr val="C00000"/>
                </a:solidFill>
              </a:rPr>
              <a:t>'author'</a:t>
            </a:r>
            <a:r>
              <a:rPr lang="en-GB"/>
              <a:t>).</a:t>
            </a:r>
            <a:r>
              <a:rPr lang="en-GB" err="1"/>
              <a:t>agg</a:t>
            </a:r>
            <a:r>
              <a:rPr lang="en-GB"/>
              <a:t>(</a:t>
            </a:r>
            <a:r>
              <a:rPr lang="en-GB">
                <a:solidFill>
                  <a:srgbClr val="C00000"/>
                </a:solidFill>
              </a:rPr>
              <a:t>'max'</a:t>
            </a:r>
            <a:r>
              <a:rPr lang="en-GB"/>
              <a:t>) to get the maximum value per column for each distinct entry in the ‘author’ column).</a:t>
            </a:r>
          </a:p>
        </p:txBody>
      </p:sp>
      <p:sp>
        <p:nvSpPr>
          <p:cNvPr id="8" name="TextBox 7">
            <a:extLst>
              <a:ext uri="{FF2B5EF4-FFF2-40B4-BE49-F238E27FC236}">
                <a16:creationId xmlns:a16="http://schemas.microsoft.com/office/drawing/2014/main" id="{6A5FED41-5656-EF1B-0341-942C6A738FD1}"/>
              </a:ext>
            </a:extLst>
          </p:cNvPr>
          <p:cNvSpPr txBox="1"/>
          <p:nvPr/>
        </p:nvSpPr>
        <p:spPr>
          <a:xfrm>
            <a:off x="365443" y="4175622"/>
            <a:ext cx="8426450" cy="300082"/>
          </a:xfrm>
          <a:prstGeom prst="rect">
            <a:avLst/>
          </a:prstGeom>
          <a:noFill/>
        </p:spPr>
        <p:txBody>
          <a:bodyPr wrap="square" rtlCol="0">
            <a:spAutoFit/>
          </a:bodyPr>
          <a:lstStyle/>
          <a:p>
            <a:r>
              <a:rPr lang="en-GB"/>
              <a:t>.</a:t>
            </a:r>
            <a:r>
              <a:rPr lang="en-GB" err="1">
                <a:solidFill>
                  <a:srgbClr val="00B0F0"/>
                </a:solidFill>
              </a:rPr>
              <a:t>groupby</a:t>
            </a:r>
            <a:r>
              <a:rPr lang="en-GB"/>
              <a:t>() documentation: </a:t>
            </a:r>
            <a:r>
              <a:rPr lang="en-GB">
                <a:hlinkClick r:id="rId2"/>
              </a:rPr>
              <a:t>https://pandas.pydata.org/docs/reference/api/pandas.DataFrame.groupby.html</a:t>
            </a:r>
            <a:r>
              <a:rPr lang="en-GB"/>
              <a:t> </a:t>
            </a:r>
          </a:p>
        </p:txBody>
      </p:sp>
    </p:spTree>
    <p:extLst>
      <p:ext uri="{BB962C8B-B14F-4D97-AF65-F5344CB8AC3E}">
        <p14:creationId xmlns:p14="http://schemas.microsoft.com/office/powerpoint/2010/main" val="38514833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0E67C-540B-7FDD-E4DC-7DD767507DA3}"/>
              </a:ext>
            </a:extLst>
          </p:cNvPr>
          <p:cNvSpPr>
            <a:spLocks noGrp="1"/>
          </p:cNvSpPr>
          <p:nvPr>
            <p:ph type="title"/>
          </p:nvPr>
        </p:nvSpPr>
        <p:spPr/>
        <p:txBody>
          <a:bodyPr/>
          <a:lstStyle/>
          <a:p>
            <a:r>
              <a:rPr lang="en-GB"/>
              <a:t>Reshaping a </a:t>
            </a:r>
            <a:r>
              <a:rPr lang="en-GB" err="1"/>
              <a:t>dataframe</a:t>
            </a:r>
            <a:endParaRPr lang="en-GB"/>
          </a:p>
        </p:txBody>
      </p:sp>
      <p:sp>
        <p:nvSpPr>
          <p:cNvPr id="4" name="Slide Number Placeholder 3">
            <a:extLst>
              <a:ext uri="{FF2B5EF4-FFF2-40B4-BE49-F238E27FC236}">
                <a16:creationId xmlns:a16="http://schemas.microsoft.com/office/drawing/2014/main" id="{15B926C9-A642-07F6-58C4-A264E1147CFD}"/>
              </a:ext>
            </a:extLst>
          </p:cNvPr>
          <p:cNvSpPr>
            <a:spLocks noGrp="1"/>
          </p:cNvSpPr>
          <p:nvPr>
            <p:ph type="sldNum" sz="quarter" idx="12"/>
          </p:nvPr>
        </p:nvSpPr>
        <p:spPr/>
        <p:txBody>
          <a:bodyPr/>
          <a:lstStyle/>
          <a:p>
            <a:fld id="{7559FC98-AF75-4A00-A03C-DF9FEBF6BCB9}" type="slidenum">
              <a:rPr lang="en-GB" smtClean="0"/>
              <a:pPr/>
              <a:t>17</a:t>
            </a:fld>
            <a:endParaRPr lang="en-GB"/>
          </a:p>
        </p:txBody>
      </p:sp>
      <p:sp>
        <p:nvSpPr>
          <p:cNvPr id="5" name="TextBox 4">
            <a:extLst>
              <a:ext uri="{FF2B5EF4-FFF2-40B4-BE49-F238E27FC236}">
                <a16:creationId xmlns:a16="http://schemas.microsoft.com/office/drawing/2014/main" id="{F7AA330D-A71F-4ED2-CE3B-BF4FC4BA51BB}"/>
              </a:ext>
            </a:extLst>
          </p:cNvPr>
          <p:cNvSpPr txBox="1"/>
          <p:nvPr/>
        </p:nvSpPr>
        <p:spPr>
          <a:xfrm>
            <a:off x="368606" y="795973"/>
            <a:ext cx="8416619" cy="507831"/>
          </a:xfrm>
          <a:prstGeom prst="rect">
            <a:avLst/>
          </a:prstGeom>
          <a:noFill/>
        </p:spPr>
        <p:txBody>
          <a:bodyPr wrap="square" rtlCol="0">
            <a:spAutoFit/>
          </a:bodyPr>
          <a:lstStyle/>
          <a:p>
            <a:r>
              <a:rPr lang="en-GB"/>
              <a:t>There are 2 ways in which we can reshape a </a:t>
            </a:r>
            <a:r>
              <a:rPr lang="en-GB" err="1"/>
              <a:t>dataframe</a:t>
            </a:r>
            <a:r>
              <a:rPr lang="en-GB"/>
              <a:t> – turn a wide </a:t>
            </a:r>
            <a:r>
              <a:rPr lang="en-GB" err="1"/>
              <a:t>dataframe</a:t>
            </a:r>
            <a:r>
              <a:rPr lang="en-GB"/>
              <a:t> into a narrow one or vice versa. The methods used are:</a:t>
            </a:r>
          </a:p>
        </p:txBody>
      </p:sp>
      <p:cxnSp>
        <p:nvCxnSpPr>
          <p:cNvPr id="6" name="Straight Connector 5">
            <a:extLst>
              <a:ext uri="{FF2B5EF4-FFF2-40B4-BE49-F238E27FC236}">
                <a16:creationId xmlns:a16="http://schemas.microsoft.com/office/drawing/2014/main" id="{26450F40-2383-46D0-6958-158CF033DC44}"/>
              </a:ext>
            </a:extLst>
          </p:cNvPr>
          <p:cNvCxnSpPr>
            <a:cxnSpLocks/>
            <a:stCxn id="5" idx="2"/>
          </p:cNvCxnSpPr>
          <p:nvPr/>
        </p:nvCxnSpPr>
        <p:spPr>
          <a:xfrm flipH="1">
            <a:off x="4572000" y="1303804"/>
            <a:ext cx="4916" cy="3268196"/>
          </a:xfrm>
          <a:prstGeom prst="line">
            <a:avLst/>
          </a:prstGeom>
        </p:spPr>
        <p:style>
          <a:lnRef idx="1">
            <a:schemeClr val="dk1"/>
          </a:lnRef>
          <a:fillRef idx="0">
            <a:schemeClr val="dk1"/>
          </a:fillRef>
          <a:effectRef idx="0">
            <a:schemeClr val="dk1"/>
          </a:effectRef>
          <a:fontRef idx="minor">
            <a:schemeClr val="tx1"/>
          </a:fontRef>
        </p:style>
      </p:cxnSp>
      <p:sp>
        <p:nvSpPr>
          <p:cNvPr id="7" name="TextBox 6">
            <a:extLst>
              <a:ext uri="{FF2B5EF4-FFF2-40B4-BE49-F238E27FC236}">
                <a16:creationId xmlns:a16="http://schemas.microsoft.com/office/drawing/2014/main" id="{EA51C00D-938B-EAB6-2CCA-8E8B6CB41954}"/>
              </a:ext>
            </a:extLst>
          </p:cNvPr>
          <p:cNvSpPr txBox="1"/>
          <p:nvPr/>
        </p:nvSpPr>
        <p:spPr>
          <a:xfrm>
            <a:off x="273203" y="1575241"/>
            <a:ext cx="4208310" cy="3000821"/>
          </a:xfrm>
          <a:prstGeom prst="rect">
            <a:avLst/>
          </a:prstGeom>
          <a:noFill/>
        </p:spPr>
        <p:txBody>
          <a:bodyPr wrap="square" rtlCol="0">
            <a:spAutoFit/>
          </a:bodyPr>
          <a:lstStyle/>
          <a:p>
            <a:r>
              <a:rPr lang="en-GB"/>
              <a:t>Melt:</a:t>
            </a:r>
          </a:p>
          <a:p>
            <a:pPr marL="285750" indent="-285750">
              <a:buFont typeface="Arial" panose="020B0604020202020204" pitchFamily="34" charset="0"/>
              <a:buChar char="•"/>
            </a:pPr>
            <a:r>
              <a:rPr lang="en-GB"/>
              <a:t>Is used to create narrow </a:t>
            </a:r>
            <a:r>
              <a:rPr lang="en-GB" err="1"/>
              <a:t>dataframes</a:t>
            </a:r>
            <a:r>
              <a:rPr lang="en-GB"/>
              <a:t> out of wider ones.</a:t>
            </a:r>
          </a:p>
          <a:p>
            <a:pPr marL="285750" indent="-285750">
              <a:buFont typeface="Arial" panose="020B0604020202020204" pitchFamily="34" charset="0"/>
              <a:buChar char="•"/>
            </a:pPr>
            <a:r>
              <a:rPr lang="en-GB"/>
              <a:t>Syntax:</a:t>
            </a:r>
          </a:p>
          <a:p>
            <a:r>
              <a:rPr lang="en-GB"/>
              <a:t>     </a:t>
            </a:r>
            <a:r>
              <a:rPr lang="en-GB" err="1"/>
              <a:t>pd.</a:t>
            </a:r>
            <a:r>
              <a:rPr lang="en-GB" err="1">
                <a:solidFill>
                  <a:srgbClr val="00B0F0"/>
                </a:solidFill>
              </a:rPr>
              <a:t>melt</a:t>
            </a:r>
            <a:r>
              <a:rPr lang="en-GB"/>
              <a:t>(</a:t>
            </a:r>
            <a:r>
              <a:rPr lang="en-GB" err="1"/>
              <a:t>id_vars</a:t>
            </a:r>
            <a:r>
              <a:rPr lang="en-GB">
                <a:solidFill>
                  <a:srgbClr val="7030A0"/>
                </a:solidFill>
              </a:rPr>
              <a:t>=</a:t>
            </a:r>
            <a:r>
              <a:rPr lang="en-GB"/>
              <a:t>[</a:t>
            </a:r>
            <a:r>
              <a:rPr lang="en-GB">
                <a:solidFill>
                  <a:srgbClr val="C00000"/>
                </a:solidFill>
              </a:rPr>
              <a:t>‘</a:t>
            </a:r>
            <a:r>
              <a:rPr lang="en-GB" err="1">
                <a:solidFill>
                  <a:srgbClr val="C00000"/>
                </a:solidFill>
              </a:rPr>
              <a:t>col_name</a:t>
            </a:r>
            <a:r>
              <a:rPr lang="en-GB">
                <a:solidFill>
                  <a:srgbClr val="C00000"/>
                </a:solidFill>
              </a:rPr>
              <a:t>’</a:t>
            </a:r>
            <a:r>
              <a:rPr lang="en-GB"/>
              <a:t>],</a:t>
            </a:r>
          </a:p>
          <a:p>
            <a:pPr lvl="2"/>
            <a:r>
              <a:rPr lang="en-GB"/>
              <a:t>   </a:t>
            </a:r>
            <a:r>
              <a:rPr lang="en-GB" err="1"/>
              <a:t>var_name</a:t>
            </a:r>
            <a:r>
              <a:rPr lang="en-GB">
                <a:solidFill>
                  <a:srgbClr val="7030A0"/>
                </a:solidFill>
              </a:rPr>
              <a:t>=</a:t>
            </a:r>
            <a:r>
              <a:rPr lang="en-GB">
                <a:solidFill>
                  <a:srgbClr val="C00000"/>
                </a:solidFill>
              </a:rPr>
              <a:t>‘name’</a:t>
            </a:r>
            <a:r>
              <a:rPr lang="en-GB"/>
              <a:t>,</a:t>
            </a:r>
          </a:p>
          <a:p>
            <a:pPr lvl="2"/>
            <a:r>
              <a:rPr lang="en-GB"/>
              <a:t>   </a:t>
            </a:r>
            <a:r>
              <a:rPr lang="en-GB" err="1"/>
              <a:t>value_name</a:t>
            </a:r>
            <a:r>
              <a:rPr lang="en-GB">
                <a:solidFill>
                  <a:srgbClr val="7030A0"/>
                </a:solidFill>
              </a:rPr>
              <a:t>=</a:t>
            </a:r>
            <a:r>
              <a:rPr lang="en-GB">
                <a:solidFill>
                  <a:srgbClr val="C00000"/>
                </a:solidFill>
              </a:rPr>
              <a:t>‘name1’</a:t>
            </a:r>
            <a:r>
              <a:rPr lang="en-GB"/>
              <a:t>)</a:t>
            </a:r>
          </a:p>
          <a:p>
            <a:pPr marL="285750" indent="-285750">
              <a:buFont typeface="Arial" panose="020B0604020202020204" pitchFamily="34" charset="0"/>
              <a:buChar char="•"/>
            </a:pPr>
            <a:r>
              <a:rPr lang="en-GB" err="1"/>
              <a:t>var_name</a:t>
            </a:r>
            <a:r>
              <a:rPr lang="en-GB"/>
              <a:t> and </a:t>
            </a:r>
            <a:r>
              <a:rPr lang="en-GB" err="1"/>
              <a:t>value_name</a:t>
            </a:r>
            <a:r>
              <a:rPr lang="en-GB"/>
              <a:t> are optional.</a:t>
            </a:r>
          </a:p>
          <a:p>
            <a:pPr marL="285750" indent="-285750">
              <a:buFont typeface="Arial" panose="020B0604020202020204" pitchFamily="34" charset="0"/>
              <a:buChar char="•"/>
            </a:pPr>
            <a:endParaRPr lang="en-GB"/>
          </a:p>
          <a:p>
            <a:r>
              <a:rPr lang="en-GB" i="1"/>
              <a:t>(More information on lecture notebook, section 3)</a:t>
            </a:r>
          </a:p>
          <a:p>
            <a:endParaRPr lang="en-GB" i="1"/>
          </a:p>
          <a:p>
            <a:r>
              <a:rPr lang="en-GB" i="1"/>
              <a:t>Documentation: </a:t>
            </a:r>
            <a:r>
              <a:rPr lang="en-GB" i="1">
                <a:hlinkClick r:id="rId2"/>
              </a:rPr>
              <a:t>https://pandas.pydata.org/docs/reference/api/pandas.melt.html</a:t>
            </a:r>
            <a:r>
              <a:rPr lang="en-GB" i="1"/>
              <a:t> </a:t>
            </a:r>
          </a:p>
        </p:txBody>
      </p:sp>
      <p:sp>
        <p:nvSpPr>
          <p:cNvPr id="8" name="TextBox 7">
            <a:extLst>
              <a:ext uri="{FF2B5EF4-FFF2-40B4-BE49-F238E27FC236}">
                <a16:creationId xmlns:a16="http://schemas.microsoft.com/office/drawing/2014/main" id="{3250BFFC-99D3-E2B4-8855-FF02EB2D2FE0}"/>
              </a:ext>
            </a:extLst>
          </p:cNvPr>
          <p:cNvSpPr txBox="1"/>
          <p:nvPr/>
        </p:nvSpPr>
        <p:spPr>
          <a:xfrm>
            <a:off x="4581831" y="1575241"/>
            <a:ext cx="4208310" cy="3000821"/>
          </a:xfrm>
          <a:prstGeom prst="rect">
            <a:avLst/>
          </a:prstGeom>
          <a:noFill/>
        </p:spPr>
        <p:txBody>
          <a:bodyPr wrap="square" rtlCol="0">
            <a:spAutoFit/>
          </a:bodyPr>
          <a:lstStyle/>
          <a:p>
            <a:r>
              <a:rPr lang="en-GB"/>
              <a:t>Pivot:</a:t>
            </a:r>
          </a:p>
          <a:p>
            <a:pPr marL="285750" indent="-285750">
              <a:buFont typeface="Arial" panose="020B0604020202020204" pitchFamily="34" charset="0"/>
              <a:buChar char="•"/>
            </a:pPr>
            <a:r>
              <a:rPr lang="en-GB"/>
              <a:t>Is used to create a wider </a:t>
            </a:r>
            <a:r>
              <a:rPr lang="en-GB" err="1"/>
              <a:t>dataframe</a:t>
            </a:r>
            <a:r>
              <a:rPr lang="en-GB"/>
              <a:t> out of a narrow one.</a:t>
            </a:r>
          </a:p>
          <a:p>
            <a:pPr marL="285750" indent="-285750">
              <a:buFont typeface="Arial" panose="020B0604020202020204" pitchFamily="34" charset="0"/>
              <a:buChar char="•"/>
            </a:pPr>
            <a:r>
              <a:rPr lang="en-GB"/>
              <a:t>Syntax:</a:t>
            </a:r>
          </a:p>
          <a:p>
            <a:pPr marL="285750" indent="-285750">
              <a:buFont typeface="Arial" panose="020B0604020202020204" pitchFamily="34" charset="0"/>
              <a:buChar char="•"/>
            </a:pPr>
            <a:r>
              <a:rPr lang="en-GB" err="1"/>
              <a:t>pd.</a:t>
            </a:r>
            <a:r>
              <a:rPr lang="en-GB" err="1">
                <a:solidFill>
                  <a:srgbClr val="00B0F0"/>
                </a:solidFill>
              </a:rPr>
              <a:t>pivot</a:t>
            </a:r>
            <a:r>
              <a:rPr lang="en-GB"/>
              <a:t>(index</a:t>
            </a:r>
            <a:r>
              <a:rPr lang="en-GB">
                <a:solidFill>
                  <a:srgbClr val="7030A0"/>
                </a:solidFill>
              </a:rPr>
              <a:t>=</a:t>
            </a:r>
            <a:r>
              <a:rPr lang="en-GB">
                <a:solidFill>
                  <a:srgbClr val="C00000"/>
                </a:solidFill>
              </a:rPr>
              <a:t>‘</a:t>
            </a:r>
            <a:r>
              <a:rPr lang="en-GB" err="1">
                <a:solidFill>
                  <a:srgbClr val="C00000"/>
                </a:solidFill>
              </a:rPr>
              <a:t>col_name</a:t>
            </a:r>
            <a:r>
              <a:rPr lang="en-GB">
                <a:solidFill>
                  <a:srgbClr val="C00000"/>
                </a:solidFill>
              </a:rPr>
              <a:t>’</a:t>
            </a:r>
            <a:r>
              <a:rPr lang="en-GB"/>
              <a:t>,</a:t>
            </a:r>
          </a:p>
          <a:p>
            <a:pPr lvl="1"/>
            <a:r>
              <a:rPr lang="en-GB"/>
              <a:t>	    columns</a:t>
            </a:r>
            <a:r>
              <a:rPr lang="en-GB">
                <a:solidFill>
                  <a:srgbClr val="7030A0"/>
                </a:solidFill>
              </a:rPr>
              <a:t>=</a:t>
            </a:r>
            <a:r>
              <a:rPr lang="en-GB">
                <a:solidFill>
                  <a:srgbClr val="C00000"/>
                </a:solidFill>
              </a:rPr>
              <a:t>‘col_name1’</a:t>
            </a:r>
            <a:r>
              <a:rPr lang="en-GB"/>
              <a:t>,</a:t>
            </a:r>
          </a:p>
          <a:p>
            <a:pPr lvl="1"/>
            <a:r>
              <a:rPr lang="en-GB"/>
              <a:t>	    values</a:t>
            </a:r>
            <a:r>
              <a:rPr lang="en-GB">
                <a:solidFill>
                  <a:srgbClr val="7030A0"/>
                </a:solidFill>
              </a:rPr>
              <a:t>=</a:t>
            </a:r>
            <a:r>
              <a:rPr lang="en-GB">
                <a:solidFill>
                  <a:srgbClr val="C00000"/>
                </a:solidFill>
              </a:rPr>
              <a:t>‘col_name2’</a:t>
            </a:r>
            <a:r>
              <a:rPr lang="en-GB"/>
              <a:t>)</a:t>
            </a:r>
          </a:p>
          <a:p>
            <a:pPr marL="285750" indent="-285750">
              <a:buFont typeface="Arial" panose="020B0604020202020204" pitchFamily="34" charset="0"/>
              <a:buChar char="•"/>
            </a:pPr>
            <a:r>
              <a:rPr lang="en-GB"/>
              <a:t>Index and columns are required parameters.</a:t>
            </a:r>
          </a:p>
          <a:p>
            <a:pPr marL="285750" indent="-285750">
              <a:buFont typeface="Arial" panose="020B0604020202020204" pitchFamily="34" charset="0"/>
              <a:buChar char="•"/>
            </a:pPr>
            <a:endParaRPr lang="en-GB"/>
          </a:p>
          <a:p>
            <a:r>
              <a:rPr lang="en-GB" i="1"/>
              <a:t>(More information on lecture notebook, section 3)</a:t>
            </a:r>
          </a:p>
          <a:p>
            <a:endParaRPr lang="en-GB" i="1"/>
          </a:p>
          <a:p>
            <a:r>
              <a:rPr lang="en-GB" i="1"/>
              <a:t>Documentation: </a:t>
            </a:r>
            <a:r>
              <a:rPr lang="en-GB" i="1">
                <a:hlinkClick r:id="rId3"/>
              </a:rPr>
              <a:t>https://pandas.pydata.org/docs/reference/api/pandas.DataFrame.pivot.html</a:t>
            </a:r>
            <a:r>
              <a:rPr lang="en-GB" i="1"/>
              <a:t> </a:t>
            </a:r>
          </a:p>
        </p:txBody>
      </p:sp>
    </p:spTree>
    <p:extLst>
      <p:ext uri="{BB962C8B-B14F-4D97-AF65-F5344CB8AC3E}">
        <p14:creationId xmlns:p14="http://schemas.microsoft.com/office/powerpoint/2010/main" val="38573048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lstStyle/>
          <a:p>
            <a:r>
              <a:rPr lang="en-US" dirty="0"/>
              <a:t>Now you have everything you need to start with Assignment 9</a:t>
            </a:r>
          </a:p>
        </p:txBody>
      </p:sp>
    </p:spTree>
    <p:extLst>
      <p:ext uri="{BB962C8B-B14F-4D97-AF65-F5344CB8AC3E}">
        <p14:creationId xmlns:p14="http://schemas.microsoft.com/office/powerpoint/2010/main" val="39825513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Inhaltsplatzhalter 15">
            <a:extLst>
              <a:ext uri="{FF2B5EF4-FFF2-40B4-BE49-F238E27FC236}">
                <a16:creationId xmlns:a16="http://schemas.microsoft.com/office/drawing/2014/main" id="{909CA527-9C4E-4704-9579-AA53445EF11F}"/>
              </a:ext>
            </a:extLst>
          </p:cNvPr>
          <p:cNvSpPr>
            <a:spLocks noGrp="1"/>
          </p:cNvSpPr>
          <p:nvPr>
            <p:ph sz="quarter" idx="13"/>
          </p:nvPr>
        </p:nvSpPr>
        <p:spPr/>
        <p:txBody>
          <a:bodyPr/>
          <a:lstStyle/>
          <a:p>
            <a:pPr marL="0" indent="0"/>
            <a:endParaRPr lang="de-DE" dirty="0"/>
          </a:p>
          <a:p>
            <a:pPr marL="0" indent="0"/>
            <a:r>
              <a:rPr lang="de-DE" dirty="0"/>
              <a:t>Dominik Buchegger</a:t>
            </a:r>
          </a:p>
          <a:p>
            <a:pPr marL="0" indent="0"/>
            <a:r>
              <a:rPr lang="de-DE" b="0" dirty="0">
                <a:hlinkClick r:id="rId3"/>
              </a:rPr>
              <a:t>dominik.buchegger@student.unisg.ch</a:t>
            </a:r>
            <a:endParaRPr lang="de-DE" b="0" dirty="0"/>
          </a:p>
          <a:p>
            <a:pPr marL="0" indent="0"/>
            <a:endParaRPr lang="de-DE" b="0" dirty="0"/>
          </a:p>
        </p:txBody>
      </p:sp>
    </p:spTree>
    <p:extLst>
      <p:ext uri="{BB962C8B-B14F-4D97-AF65-F5344CB8AC3E}">
        <p14:creationId xmlns:p14="http://schemas.microsoft.com/office/powerpoint/2010/main" val="39501331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17DB3436-ED48-75F7-EFC8-D81AEA02D09F}"/>
              </a:ext>
            </a:extLst>
          </p:cNvPr>
          <p:cNvSpPr>
            <a:spLocks noGrp="1"/>
          </p:cNvSpPr>
          <p:nvPr>
            <p:ph type="sldNum" sz="quarter" idx="16"/>
          </p:nvPr>
        </p:nvSpPr>
        <p:spPr/>
        <p:txBody>
          <a:bodyPr/>
          <a:lstStyle/>
          <a:p>
            <a:fld id="{7559FC98-AF75-4A00-A03C-DF9FEBF6BCB9}" type="slidenum">
              <a:rPr lang="en-GB" smtClean="0"/>
              <a:pPr/>
              <a:t>2</a:t>
            </a:fld>
            <a:endParaRPr lang="en-GB"/>
          </a:p>
        </p:txBody>
      </p:sp>
      <p:sp>
        <p:nvSpPr>
          <p:cNvPr id="4" name="Titel 3">
            <a:extLst>
              <a:ext uri="{FF2B5EF4-FFF2-40B4-BE49-F238E27FC236}">
                <a16:creationId xmlns:a16="http://schemas.microsoft.com/office/drawing/2014/main" id="{A7DF72C1-C663-3FA3-FACB-98369A161D17}"/>
              </a:ext>
            </a:extLst>
          </p:cNvPr>
          <p:cNvSpPr>
            <a:spLocks noGrp="1"/>
          </p:cNvSpPr>
          <p:nvPr>
            <p:ph type="title"/>
          </p:nvPr>
        </p:nvSpPr>
        <p:spPr/>
        <p:txBody>
          <a:bodyPr/>
          <a:lstStyle/>
          <a:p>
            <a:r>
              <a:rPr lang="en-US"/>
              <a:t>Today’s Menu</a:t>
            </a:r>
          </a:p>
        </p:txBody>
      </p:sp>
      <p:sp>
        <p:nvSpPr>
          <p:cNvPr id="2" name="Textplatzhalter 1">
            <a:extLst>
              <a:ext uri="{FF2B5EF4-FFF2-40B4-BE49-F238E27FC236}">
                <a16:creationId xmlns:a16="http://schemas.microsoft.com/office/drawing/2014/main" id="{38C104DD-55A5-D5D7-68B1-A81097757DA7}"/>
              </a:ext>
            </a:extLst>
          </p:cNvPr>
          <p:cNvSpPr>
            <a:spLocks noGrp="1"/>
          </p:cNvSpPr>
          <p:nvPr>
            <p:ph type="body" sz="quarter" idx="13"/>
          </p:nvPr>
        </p:nvSpPr>
        <p:spPr>
          <a:xfrm>
            <a:off x="358775" y="862619"/>
            <a:ext cx="5527675" cy="3860455"/>
          </a:xfrm>
        </p:spPr>
        <p:txBody>
          <a:bodyPr>
            <a:normAutofit/>
          </a:bodyPr>
          <a:lstStyle/>
          <a:p>
            <a:pPr>
              <a:spcAft>
                <a:spcPts val="800"/>
              </a:spcAft>
            </a:pPr>
            <a:r>
              <a:rPr lang="en-US" dirty="0"/>
              <a:t>Discussion of assignment 8 and the respective quiz</a:t>
            </a:r>
          </a:p>
          <a:p>
            <a:pPr>
              <a:spcAft>
                <a:spcPts val="800"/>
              </a:spcAft>
            </a:pPr>
            <a:r>
              <a:rPr lang="en-GB" dirty="0"/>
              <a:t>Brief summary of last week’s content</a:t>
            </a:r>
            <a:endParaRPr lang="en-US" dirty="0"/>
          </a:p>
          <a:p>
            <a:pPr>
              <a:spcAft>
                <a:spcPts val="800"/>
              </a:spcAft>
            </a:pPr>
            <a:r>
              <a:rPr lang="en-US" dirty="0"/>
              <a:t>Preparation for Assignment 9</a:t>
            </a:r>
          </a:p>
          <a:p>
            <a:pPr>
              <a:buAutoNum type="alphaLcPeriod" startAt="14"/>
            </a:pPr>
            <a:r>
              <a:rPr lang="en-US" dirty="0">
                <a:solidFill>
                  <a:srgbClr val="D4D4D4"/>
                </a:solidFill>
              </a:rPr>
              <a:t>You solve the assignment</a:t>
            </a:r>
          </a:p>
          <a:p>
            <a:pPr marL="0" indent="0">
              <a:buNone/>
            </a:pPr>
            <a:r>
              <a:rPr lang="en-US" dirty="0">
                <a:solidFill>
                  <a:srgbClr val="D4D4D4"/>
                </a:solidFill>
              </a:rPr>
              <a:t>n+1. Virtual Office Hour</a:t>
            </a:r>
            <a:endParaRPr lang="en-US" dirty="0"/>
          </a:p>
          <a:p>
            <a:pPr marL="0" indent="0">
              <a:buNone/>
            </a:pPr>
            <a:endParaRPr lang="en-GB" dirty="0"/>
          </a:p>
        </p:txBody>
      </p:sp>
    </p:spTree>
    <p:extLst>
      <p:ext uri="{BB962C8B-B14F-4D97-AF65-F5344CB8AC3E}">
        <p14:creationId xmlns:p14="http://schemas.microsoft.com/office/powerpoint/2010/main" val="23688930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A5F2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lstStyle/>
          <a:p>
            <a:r>
              <a:rPr lang="en-US" dirty="0"/>
              <a:t>Discussion of Assignment &amp; Quiz 8</a:t>
            </a:r>
          </a:p>
        </p:txBody>
      </p:sp>
    </p:spTree>
    <p:extLst>
      <p:ext uri="{BB962C8B-B14F-4D97-AF65-F5344CB8AC3E}">
        <p14:creationId xmlns:p14="http://schemas.microsoft.com/office/powerpoint/2010/main" val="8609055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3E2A34-70FA-060B-5B95-B5EC2EA3367D}"/>
              </a:ext>
            </a:extLst>
          </p:cNvPr>
          <p:cNvSpPr>
            <a:spLocks noGrp="1"/>
          </p:cNvSpPr>
          <p:nvPr>
            <p:ph type="title"/>
          </p:nvPr>
        </p:nvSpPr>
        <p:spPr/>
        <p:txBody>
          <a:bodyPr/>
          <a:lstStyle/>
          <a:p>
            <a:r>
              <a:rPr lang="en-GB"/>
              <a:t>Quiz 8 explanations</a:t>
            </a:r>
          </a:p>
        </p:txBody>
      </p:sp>
      <p:sp>
        <p:nvSpPr>
          <p:cNvPr id="3" name="Content Placeholder 2">
            <a:extLst>
              <a:ext uri="{FF2B5EF4-FFF2-40B4-BE49-F238E27FC236}">
                <a16:creationId xmlns:a16="http://schemas.microsoft.com/office/drawing/2014/main" id="{F23136F2-A6F1-78D4-BE1E-C5FEA834EA15}"/>
              </a:ext>
            </a:extLst>
          </p:cNvPr>
          <p:cNvSpPr>
            <a:spLocks noGrp="1"/>
          </p:cNvSpPr>
          <p:nvPr>
            <p:ph sz="half" idx="1"/>
          </p:nvPr>
        </p:nvSpPr>
        <p:spPr>
          <a:xfrm>
            <a:off x="358775" y="2326887"/>
            <a:ext cx="8426449" cy="2153037"/>
          </a:xfrm>
        </p:spPr>
        <p:txBody>
          <a:bodyPr/>
          <a:lstStyle/>
          <a:p>
            <a:pPr algn="ctr"/>
            <a:r>
              <a:rPr lang="en-GB"/>
              <a:t>You can find the explanations to Quiz 8 in the notebook below:</a:t>
            </a:r>
          </a:p>
          <a:p>
            <a:pPr algn="ctr"/>
            <a:endParaRPr lang="en-GB"/>
          </a:p>
          <a:p>
            <a:pPr algn="ctr"/>
            <a:r>
              <a:rPr lang="en-GB">
                <a:hlinkClick r:id="rId2"/>
              </a:rPr>
              <a:t>https://colab.research.google.com/drive/1uFHic-MU3dmt1-oe_cJoUitgn6w6IRZu#scrollTo=U0febPm4OGzL</a:t>
            </a:r>
            <a:r>
              <a:rPr lang="en-GB"/>
              <a:t> </a:t>
            </a:r>
          </a:p>
        </p:txBody>
      </p:sp>
      <p:sp>
        <p:nvSpPr>
          <p:cNvPr id="5" name="Slide Number Placeholder 4">
            <a:extLst>
              <a:ext uri="{FF2B5EF4-FFF2-40B4-BE49-F238E27FC236}">
                <a16:creationId xmlns:a16="http://schemas.microsoft.com/office/drawing/2014/main" id="{219BBB86-C9AA-7583-D26A-671A8520CC06}"/>
              </a:ext>
            </a:extLst>
          </p:cNvPr>
          <p:cNvSpPr>
            <a:spLocks noGrp="1"/>
          </p:cNvSpPr>
          <p:nvPr>
            <p:ph type="sldNum" sz="quarter" idx="16"/>
          </p:nvPr>
        </p:nvSpPr>
        <p:spPr/>
        <p:txBody>
          <a:bodyPr/>
          <a:lstStyle/>
          <a:p>
            <a:fld id="{7559FC98-AF75-4A00-A03C-DF9FEBF6BCB9}" type="slidenum">
              <a:rPr lang="en-GB" smtClean="0"/>
              <a:pPr/>
              <a:t>4</a:t>
            </a:fld>
            <a:endParaRPr lang="en-GB"/>
          </a:p>
        </p:txBody>
      </p:sp>
    </p:spTree>
    <p:extLst>
      <p:ext uri="{BB962C8B-B14F-4D97-AF65-F5344CB8AC3E}">
        <p14:creationId xmlns:p14="http://schemas.microsoft.com/office/powerpoint/2010/main" val="720892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0A79A4D-3B6C-366E-FAA7-EAF6E116F528}"/>
              </a:ext>
            </a:extLst>
          </p:cNvPr>
          <p:cNvSpPr>
            <a:spLocks noGrp="1"/>
          </p:cNvSpPr>
          <p:nvPr>
            <p:ph type="title"/>
          </p:nvPr>
        </p:nvSpPr>
        <p:spPr/>
        <p:txBody>
          <a:bodyPr/>
          <a:lstStyle/>
          <a:p>
            <a:r>
              <a:rPr lang="en-GB"/>
              <a:t>Assignment 8 and Quiz 8</a:t>
            </a:r>
          </a:p>
        </p:txBody>
      </p:sp>
      <p:sp>
        <p:nvSpPr>
          <p:cNvPr id="2" name="Textplatzhalter 1">
            <a:extLst>
              <a:ext uri="{FF2B5EF4-FFF2-40B4-BE49-F238E27FC236}">
                <a16:creationId xmlns:a16="http://schemas.microsoft.com/office/drawing/2014/main" id="{46FB8CD8-4038-0140-9D65-1F34C00B12C6}"/>
              </a:ext>
            </a:extLst>
          </p:cNvPr>
          <p:cNvSpPr>
            <a:spLocks noGrp="1"/>
          </p:cNvSpPr>
          <p:nvPr>
            <p:ph sz="half" idx="1"/>
          </p:nvPr>
        </p:nvSpPr>
        <p:spPr/>
        <p:txBody>
          <a:bodyPr>
            <a:normAutofit/>
          </a:bodyPr>
          <a:lstStyle/>
          <a:p>
            <a:pPr marL="0" indent="0"/>
            <a:r>
              <a:rPr lang="en-GB" sz="1600" u="sng"/>
              <a:t>Important concepts from assignment &amp; quiz 8</a:t>
            </a:r>
            <a:endParaRPr lang="en-GB" sz="1600"/>
          </a:p>
          <a:p>
            <a:pPr marL="285750" indent="-285750">
              <a:buFont typeface="Arial" panose="020B0604020202020204" pitchFamily="34" charset="0"/>
              <a:buChar char="•"/>
            </a:pPr>
            <a:r>
              <a:rPr lang="en-GB" sz="1600" b="1" err="1"/>
              <a:t>pd.DataFrame</a:t>
            </a:r>
            <a:r>
              <a:rPr lang="en-GB" sz="1600" b="1"/>
              <a:t> vs. </a:t>
            </a:r>
            <a:r>
              <a:rPr lang="en-GB" sz="1600" b="1" err="1"/>
              <a:t>pd.Series</a:t>
            </a:r>
            <a:endParaRPr lang="en-GB" sz="1600" b="1"/>
          </a:p>
          <a:p>
            <a:pPr marL="285750" indent="-285750">
              <a:buFont typeface="Arial" panose="020B0604020202020204" pitchFamily="34" charset="0"/>
              <a:buChar char="•"/>
            </a:pPr>
            <a:r>
              <a:rPr lang="en-GB" sz="1600"/>
              <a:t>How to inspect a DF? </a:t>
            </a:r>
          </a:p>
          <a:p>
            <a:pPr marL="285750" indent="-285750">
              <a:buFont typeface="Arial" panose="020B0604020202020204" pitchFamily="34" charset="0"/>
              <a:buChar char="•"/>
            </a:pPr>
            <a:r>
              <a:rPr lang="en-GB" sz="1600"/>
              <a:t>How to access data in a DF?</a:t>
            </a:r>
          </a:p>
          <a:p>
            <a:pPr marL="285750" indent="-285750">
              <a:buFont typeface="Arial" panose="020B0604020202020204" pitchFamily="34" charset="0"/>
              <a:buChar char="•"/>
            </a:pPr>
            <a:r>
              <a:rPr lang="en-GB" sz="1600"/>
              <a:t>How to change a DF? (hint: copy it first)</a:t>
            </a:r>
          </a:p>
          <a:p>
            <a:pPr marL="285750" indent="-285750">
              <a:buFont typeface="Arial" panose="020B0604020202020204" pitchFamily="34" charset="0"/>
              <a:buChar char="•"/>
            </a:pPr>
            <a:r>
              <a:rPr lang="en-GB" sz="1600"/>
              <a:t>Add a column to a </a:t>
            </a:r>
            <a:r>
              <a:rPr lang="en-GB" sz="1600" err="1"/>
              <a:t>Df</a:t>
            </a:r>
            <a:endParaRPr lang="en-GB" sz="1600"/>
          </a:p>
          <a:p>
            <a:pPr marL="285750" indent="-285750">
              <a:buFont typeface="Arial" panose="020B0604020202020204" pitchFamily="34" charset="0"/>
              <a:buChar char="•"/>
            </a:pPr>
            <a:r>
              <a:rPr lang="en-GB" sz="1600"/>
              <a:t>Arithmetic with entire columns</a:t>
            </a:r>
          </a:p>
          <a:p>
            <a:pPr marL="285750" indent="-285750">
              <a:buFont typeface="Arial" panose="020B0604020202020204" pitchFamily="34" charset="0"/>
              <a:buChar char="•"/>
            </a:pPr>
            <a:r>
              <a:rPr lang="en-GB" sz="1600"/>
              <a:t>Transpose a </a:t>
            </a:r>
            <a:r>
              <a:rPr lang="en-GB" sz="1600" err="1"/>
              <a:t>DataFrame</a:t>
            </a:r>
            <a:endParaRPr lang="en-GB" sz="1600"/>
          </a:p>
          <a:p>
            <a:endParaRPr lang="en-GB" sz="1600"/>
          </a:p>
        </p:txBody>
      </p:sp>
      <p:sp>
        <p:nvSpPr>
          <p:cNvPr id="7" name="Inhaltsplatzhalter 6">
            <a:extLst>
              <a:ext uri="{FF2B5EF4-FFF2-40B4-BE49-F238E27FC236}">
                <a16:creationId xmlns:a16="http://schemas.microsoft.com/office/drawing/2014/main" id="{878F28C5-DC2C-F2E0-8249-98D22752E027}"/>
              </a:ext>
            </a:extLst>
          </p:cNvPr>
          <p:cNvSpPr>
            <a:spLocks noGrp="1"/>
          </p:cNvSpPr>
          <p:nvPr>
            <p:ph sz="half" idx="2"/>
          </p:nvPr>
        </p:nvSpPr>
        <p:spPr>
          <a:xfrm>
            <a:off x="4662487" y="1276351"/>
            <a:ext cx="4122737" cy="990662"/>
          </a:xfrm>
        </p:spPr>
        <p:txBody>
          <a:bodyPr/>
          <a:lstStyle/>
          <a:p>
            <a:r>
              <a:rPr lang="en-GB" err="1"/>
              <a:t>pd.DataFrame</a:t>
            </a:r>
            <a:r>
              <a:rPr lang="en-GB"/>
              <a:t>:</a:t>
            </a:r>
          </a:p>
          <a:p>
            <a:pPr marL="285750" indent="-285750">
              <a:buFont typeface="Arial" panose="020B0604020202020204" pitchFamily="34" charset="0"/>
              <a:buChar char="•"/>
            </a:pPr>
            <a:r>
              <a:rPr lang="en-GB"/>
              <a:t>Two-dimensional, mutable, tabular data</a:t>
            </a:r>
          </a:p>
          <a:p>
            <a:pPr marL="285750" indent="-285750">
              <a:buFont typeface="Arial" panose="020B0604020202020204" pitchFamily="34" charset="0"/>
              <a:buChar char="•"/>
            </a:pPr>
            <a:r>
              <a:rPr lang="en-GB"/>
              <a:t>Contains labelled axes (rows and columns)</a:t>
            </a:r>
          </a:p>
          <a:p>
            <a:pPr marL="285750" indent="-285750">
              <a:buFont typeface="Arial" panose="020B0604020202020204" pitchFamily="34" charset="0"/>
              <a:buChar char="•"/>
            </a:pPr>
            <a:r>
              <a:rPr lang="en-GB"/>
              <a:t>Think: </a:t>
            </a:r>
            <a:r>
              <a:rPr lang="en-GB" err="1"/>
              <a:t>dict</a:t>
            </a:r>
            <a:r>
              <a:rPr lang="en-GB"/>
              <a:t>-like container for Series objects</a:t>
            </a:r>
          </a:p>
          <a:p>
            <a:pPr marL="285750" indent="-285750">
              <a:buFont typeface="Arial" panose="020B0604020202020204" pitchFamily="34" charset="0"/>
              <a:buChar char="•"/>
            </a:pPr>
            <a:endParaRPr lang="en-GB"/>
          </a:p>
        </p:txBody>
      </p:sp>
      <p:sp>
        <p:nvSpPr>
          <p:cNvPr id="3" name="Foliennummernplatzhalter 2">
            <a:extLst>
              <a:ext uri="{FF2B5EF4-FFF2-40B4-BE49-F238E27FC236}">
                <a16:creationId xmlns:a16="http://schemas.microsoft.com/office/drawing/2014/main" id="{D7C1CC86-C0E9-FAD8-64A7-E31EB225874F}"/>
              </a:ext>
            </a:extLst>
          </p:cNvPr>
          <p:cNvSpPr>
            <a:spLocks noGrp="1"/>
          </p:cNvSpPr>
          <p:nvPr>
            <p:ph type="sldNum" sz="quarter" idx="16"/>
          </p:nvPr>
        </p:nvSpPr>
        <p:spPr/>
        <p:txBody>
          <a:bodyPr/>
          <a:lstStyle/>
          <a:p>
            <a:fld id="{7559FC98-AF75-4A00-A03C-DF9FEBF6BCB9}" type="slidenum">
              <a:rPr lang="en-GB" smtClean="0"/>
              <a:pPr/>
              <a:t>5</a:t>
            </a:fld>
            <a:endParaRPr lang="en-GB"/>
          </a:p>
        </p:txBody>
      </p:sp>
      <p:sp>
        <p:nvSpPr>
          <p:cNvPr id="5" name="Rechteck 4">
            <a:extLst>
              <a:ext uri="{FF2B5EF4-FFF2-40B4-BE49-F238E27FC236}">
                <a16:creationId xmlns:a16="http://schemas.microsoft.com/office/drawing/2014/main" id="{A8DBA106-4E8F-D5B6-822A-53A73882A0C6}"/>
              </a:ext>
            </a:extLst>
          </p:cNvPr>
          <p:cNvSpPr/>
          <p:nvPr/>
        </p:nvSpPr>
        <p:spPr>
          <a:xfrm>
            <a:off x="7053696" y="2571750"/>
            <a:ext cx="1517904" cy="9144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ysClr val="windowText" lastClr="000000"/>
                </a:solidFill>
              </a:rPr>
              <a:t>data</a:t>
            </a:r>
          </a:p>
        </p:txBody>
      </p:sp>
      <p:sp>
        <p:nvSpPr>
          <p:cNvPr id="6" name="Rechteck 5">
            <a:extLst>
              <a:ext uri="{FF2B5EF4-FFF2-40B4-BE49-F238E27FC236}">
                <a16:creationId xmlns:a16="http://schemas.microsoft.com/office/drawing/2014/main" id="{C04981FA-E96C-4900-FE03-6B86ADDEBC43}"/>
              </a:ext>
            </a:extLst>
          </p:cNvPr>
          <p:cNvSpPr/>
          <p:nvPr/>
        </p:nvSpPr>
        <p:spPr>
          <a:xfrm>
            <a:off x="7053696" y="2285238"/>
            <a:ext cx="1517904" cy="21336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columns</a:t>
            </a:r>
          </a:p>
        </p:txBody>
      </p:sp>
      <p:sp>
        <p:nvSpPr>
          <p:cNvPr id="8" name="Rechteck 7">
            <a:extLst>
              <a:ext uri="{FF2B5EF4-FFF2-40B4-BE49-F238E27FC236}">
                <a16:creationId xmlns:a16="http://schemas.microsoft.com/office/drawing/2014/main" id="{D27D17DC-4E71-15AB-FEBA-ECE788F3440B}"/>
              </a:ext>
            </a:extLst>
          </p:cNvPr>
          <p:cNvSpPr/>
          <p:nvPr/>
        </p:nvSpPr>
        <p:spPr>
          <a:xfrm rot="16200000">
            <a:off x="6415523" y="2922270"/>
            <a:ext cx="914400" cy="213360"/>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rows</a:t>
            </a:r>
          </a:p>
        </p:txBody>
      </p:sp>
      <p:sp>
        <p:nvSpPr>
          <p:cNvPr id="10" name="Rechteck: abgerundete Ecken 9">
            <a:extLst>
              <a:ext uri="{FF2B5EF4-FFF2-40B4-BE49-F238E27FC236}">
                <a16:creationId xmlns:a16="http://schemas.microsoft.com/office/drawing/2014/main" id="{2BD0AF19-AD83-9DDD-3FE9-444C2A5B46B6}"/>
              </a:ext>
            </a:extLst>
          </p:cNvPr>
          <p:cNvSpPr/>
          <p:nvPr/>
        </p:nvSpPr>
        <p:spPr>
          <a:xfrm>
            <a:off x="6651361" y="2164080"/>
            <a:ext cx="676656" cy="145008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Pfeil: gebogen 10">
            <a:extLst>
              <a:ext uri="{FF2B5EF4-FFF2-40B4-BE49-F238E27FC236}">
                <a16:creationId xmlns:a16="http://schemas.microsoft.com/office/drawing/2014/main" id="{77562F0B-91EC-28ED-D486-BA653AB5F720}"/>
              </a:ext>
            </a:extLst>
          </p:cNvPr>
          <p:cNvSpPr/>
          <p:nvPr/>
        </p:nvSpPr>
        <p:spPr>
          <a:xfrm rot="16200000" flipH="1">
            <a:off x="5295641" y="2057279"/>
            <a:ext cx="1060704" cy="1516625"/>
          </a:xfrm>
          <a:prstGeom prst="bentArrow">
            <a:avLst>
              <a:gd name="adj1" fmla="val 11782"/>
              <a:gd name="adj2" fmla="val 13218"/>
              <a:gd name="adj3" fmla="val 20402"/>
              <a:gd name="adj4" fmla="val 43750"/>
            </a:avLst>
          </a:prstGeom>
          <a:solidFill>
            <a:srgbClr val="FF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Rechteck 15">
            <a:extLst>
              <a:ext uri="{FF2B5EF4-FFF2-40B4-BE49-F238E27FC236}">
                <a16:creationId xmlns:a16="http://schemas.microsoft.com/office/drawing/2014/main" id="{1D817F22-3E3C-7174-9BF9-38E154FDDF43}"/>
              </a:ext>
            </a:extLst>
          </p:cNvPr>
          <p:cNvSpPr/>
          <p:nvPr/>
        </p:nvSpPr>
        <p:spPr>
          <a:xfrm>
            <a:off x="5225776" y="3742944"/>
            <a:ext cx="284170" cy="121780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GB">
                <a:solidFill>
                  <a:sysClr val="windowText" lastClr="000000"/>
                </a:solidFill>
              </a:rPr>
              <a:t>data of col1</a:t>
            </a:r>
          </a:p>
        </p:txBody>
      </p:sp>
      <p:sp>
        <p:nvSpPr>
          <p:cNvPr id="17" name="Rechteck 16">
            <a:extLst>
              <a:ext uri="{FF2B5EF4-FFF2-40B4-BE49-F238E27FC236}">
                <a16:creationId xmlns:a16="http://schemas.microsoft.com/office/drawing/2014/main" id="{FAE52CAA-70B9-77AD-3FCC-272DFFDF0B13}"/>
              </a:ext>
            </a:extLst>
          </p:cNvPr>
          <p:cNvSpPr/>
          <p:nvPr/>
        </p:nvSpPr>
        <p:spPr>
          <a:xfrm rot="16200000">
            <a:off x="4435901" y="4245165"/>
            <a:ext cx="1217802" cy="213360"/>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rows</a:t>
            </a:r>
          </a:p>
        </p:txBody>
      </p:sp>
      <p:sp>
        <p:nvSpPr>
          <p:cNvPr id="18" name="Rechteck: abgerundete Ecken 17">
            <a:extLst>
              <a:ext uri="{FF2B5EF4-FFF2-40B4-BE49-F238E27FC236}">
                <a16:creationId xmlns:a16="http://schemas.microsoft.com/office/drawing/2014/main" id="{F066A2AA-9A12-7064-D731-DE3B4BB51F4C}"/>
              </a:ext>
            </a:extLst>
          </p:cNvPr>
          <p:cNvSpPr/>
          <p:nvPr/>
        </p:nvSpPr>
        <p:spPr>
          <a:xfrm>
            <a:off x="5046896" y="3423666"/>
            <a:ext cx="676656" cy="380999"/>
          </a:xfrm>
          <a:prstGeom prst="roundRect">
            <a:avLst/>
          </a:prstGeom>
          <a:noFill/>
          <a:ln w="2857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extfeld 20">
            <a:extLst>
              <a:ext uri="{FF2B5EF4-FFF2-40B4-BE49-F238E27FC236}">
                <a16:creationId xmlns:a16="http://schemas.microsoft.com/office/drawing/2014/main" id="{58DF58F8-3947-E922-F310-0895900CFAA9}"/>
              </a:ext>
            </a:extLst>
          </p:cNvPr>
          <p:cNvSpPr txBox="1"/>
          <p:nvPr/>
        </p:nvSpPr>
        <p:spPr>
          <a:xfrm>
            <a:off x="3073318" y="3345944"/>
            <a:ext cx="1597514" cy="507831"/>
          </a:xfrm>
          <a:prstGeom prst="rect">
            <a:avLst/>
          </a:prstGeom>
          <a:noFill/>
        </p:spPr>
        <p:txBody>
          <a:bodyPr wrap="square" rtlCol="0">
            <a:spAutoFit/>
          </a:bodyPr>
          <a:lstStyle/>
          <a:p>
            <a:r>
              <a:rPr lang="en-GB">
                <a:solidFill>
                  <a:srgbClr val="FF0000"/>
                </a:solidFill>
              </a:rPr>
              <a:t>Only the values and rows (index)</a:t>
            </a:r>
          </a:p>
        </p:txBody>
      </p:sp>
      <p:cxnSp>
        <p:nvCxnSpPr>
          <p:cNvPr id="23" name="Gerade Verbindung mit Pfeil 22">
            <a:extLst>
              <a:ext uri="{FF2B5EF4-FFF2-40B4-BE49-F238E27FC236}">
                <a16:creationId xmlns:a16="http://schemas.microsoft.com/office/drawing/2014/main" id="{E837E004-9BE0-EEF8-5243-6D3949B197A2}"/>
              </a:ext>
            </a:extLst>
          </p:cNvPr>
          <p:cNvCxnSpPr>
            <a:stCxn id="21" idx="3"/>
            <a:endCxn id="18" idx="1"/>
          </p:cNvCxnSpPr>
          <p:nvPr/>
        </p:nvCxnSpPr>
        <p:spPr>
          <a:xfrm>
            <a:off x="4670832" y="3599860"/>
            <a:ext cx="376064" cy="14306"/>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4" name="Inhaltsplatzhalter 6">
            <a:extLst>
              <a:ext uri="{FF2B5EF4-FFF2-40B4-BE49-F238E27FC236}">
                <a16:creationId xmlns:a16="http://schemas.microsoft.com/office/drawing/2014/main" id="{EDCDD1B1-57B6-A9A9-DC79-68A1F0BA3E51}"/>
              </a:ext>
            </a:extLst>
          </p:cNvPr>
          <p:cNvSpPr txBox="1">
            <a:spLocks/>
          </p:cNvSpPr>
          <p:nvPr/>
        </p:nvSpPr>
        <p:spPr>
          <a:xfrm>
            <a:off x="6099616" y="3970084"/>
            <a:ext cx="2685608" cy="990662"/>
          </a:xfrm>
          <a:prstGeom prst="rect">
            <a:avLst/>
          </a:prstGeom>
        </p:spPr>
        <p:txBody>
          <a:bodyPr vert="horz" lIns="0" tIns="0" rIns="0" bIns="0" rtlCol="0">
            <a:normAutofit/>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r>
              <a:rPr lang="en-GB" err="1"/>
              <a:t>pd.Series</a:t>
            </a:r>
            <a:r>
              <a:rPr lang="en-GB"/>
              <a:t>:</a:t>
            </a:r>
          </a:p>
          <a:p>
            <a:pPr marL="285750" indent="-285750">
              <a:buFont typeface="Arial" panose="020B0604020202020204" pitchFamily="34" charset="0"/>
              <a:buChar char="•"/>
            </a:pPr>
            <a:r>
              <a:rPr lang="en-GB"/>
              <a:t>One-dimensional, mutable, array</a:t>
            </a:r>
          </a:p>
          <a:p>
            <a:pPr marL="285750" indent="-285750">
              <a:buFont typeface="Arial" panose="020B0604020202020204" pitchFamily="34" charset="0"/>
              <a:buChar char="•"/>
            </a:pPr>
            <a:r>
              <a:rPr lang="en-GB"/>
              <a:t>Contains labels for the entries</a:t>
            </a:r>
          </a:p>
          <a:p>
            <a:pPr marL="0" indent="0"/>
            <a:endParaRPr lang="en-GB"/>
          </a:p>
          <a:p>
            <a:pPr marL="285750" indent="-285750">
              <a:buFont typeface="Arial" panose="020B0604020202020204" pitchFamily="34" charset="0"/>
              <a:buChar char="•"/>
            </a:pPr>
            <a:endParaRPr lang="en-GB"/>
          </a:p>
        </p:txBody>
      </p:sp>
    </p:spTree>
    <p:extLst>
      <p:ext uri="{BB962C8B-B14F-4D97-AF65-F5344CB8AC3E}">
        <p14:creationId xmlns:p14="http://schemas.microsoft.com/office/powerpoint/2010/main" val="21079919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animBg="1"/>
      <p:bldP spid="10" grpId="0" animBg="1"/>
      <p:bldP spid="11" grpId="0" animBg="1"/>
      <p:bldP spid="16" grpId="0" animBg="1"/>
      <p:bldP spid="17" grpId="0" animBg="1"/>
      <p:bldP spid="18" grpId="0" animBg="1"/>
      <p:bldP spid="21"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0A79A4D-3B6C-366E-FAA7-EAF6E116F528}"/>
              </a:ext>
            </a:extLst>
          </p:cNvPr>
          <p:cNvSpPr>
            <a:spLocks noGrp="1"/>
          </p:cNvSpPr>
          <p:nvPr>
            <p:ph type="title"/>
          </p:nvPr>
        </p:nvSpPr>
        <p:spPr/>
        <p:txBody>
          <a:bodyPr/>
          <a:lstStyle/>
          <a:p>
            <a:r>
              <a:rPr lang="en-GB"/>
              <a:t>Assignment 8 and Quiz 8</a:t>
            </a:r>
          </a:p>
        </p:txBody>
      </p:sp>
      <p:sp>
        <p:nvSpPr>
          <p:cNvPr id="2" name="Textplatzhalter 1">
            <a:extLst>
              <a:ext uri="{FF2B5EF4-FFF2-40B4-BE49-F238E27FC236}">
                <a16:creationId xmlns:a16="http://schemas.microsoft.com/office/drawing/2014/main" id="{46FB8CD8-4038-0140-9D65-1F34C00B12C6}"/>
              </a:ext>
            </a:extLst>
          </p:cNvPr>
          <p:cNvSpPr>
            <a:spLocks noGrp="1"/>
          </p:cNvSpPr>
          <p:nvPr>
            <p:ph sz="half" idx="1"/>
          </p:nvPr>
        </p:nvSpPr>
        <p:spPr/>
        <p:txBody>
          <a:bodyPr>
            <a:normAutofit/>
          </a:bodyPr>
          <a:lstStyle/>
          <a:p>
            <a:pPr marL="0" indent="0"/>
            <a:r>
              <a:rPr lang="en-GB" sz="1600" u="sng"/>
              <a:t>Important concepts from assignment &amp; quiz 8</a:t>
            </a:r>
            <a:endParaRPr lang="en-GB" sz="1600"/>
          </a:p>
          <a:p>
            <a:pPr marL="285750" indent="-285750">
              <a:buFont typeface="Arial" panose="020B0604020202020204" pitchFamily="34" charset="0"/>
              <a:buChar char="•"/>
            </a:pPr>
            <a:r>
              <a:rPr lang="en-GB" sz="1600" err="1"/>
              <a:t>pd.DataFrame</a:t>
            </a:r>
            <a:r>
              <a:rPr lang="en-GB" sz="1600"/>
              <a:t> vs. </a:t>
            </a:r>
            <a:r>
              <a:rPr lang="en-GB" sz="1600" err="1"/>
              <a:t>pd.Series</a:t>
            </a:r>
            <a:endParaRPr lang="en-GB" sz="1600"/>
          </a:p>
          <a:p>
            <a:pPr marL="285750" indent="-285750">
              <a:buFont typeface="Arial" panose="020B0604020202020204" pitchFamily="34" charset="0"/>
              <a:buChar char="•"/>
            </a:pPr>
            <a:r>
              <a:rPr lang="en-GB" sz="1600" b="1"/>
              <a:t>How to inspect a DF? </a:t>
            </a:r>
          </a:p>
          <a:p>
            <a:pPr marL="285750" indent="-285750">
              <a:buFont typeface="Arial" panose="020B0604020202020204" pitchFamily="34" charset="0"/>
              <a:buChar char="•"/>
            </a:pPr>
            <a:r>
              <a:rPr lang="en-GB" sz="1600"/>
              <a:t>How to access data in a DF?</a:t>
            </a:r>
          </a:p>
          <a:p>
            <a:pPr marL="285750" indent="-285750">
              <a:buFont typeface="Arial" panose="020B0604020202020204" pitchFamily="34" charset="0"/>
              <a:buChar char="•"/>
            </a:pPr>
            <a:r>
              <a:rPr lang="en-GB" sz="1600"/>
              <a:t>How to change a DF? (hint: copy it first)</a:t>
            </a:r>
          </a:p>
          <a:p>
            <a:pPr marL="285750" indent="-285750">
              <a:buFont typeface="Arial" panose="020B0604020202020204" pitchFamily="34" charset="0"/>
              <a:buChar char="•"/>
            </a:pPr>
            <a:r>
              <a:rPr lang="en-GB" sz="1600"/>
              <a:t>Add a column to a </a:t>
            </a:r>
            <a:r>
              <a:rPr lang="en-GB" sz="1600" err="1"/>
              <a:t>Df</a:t>
            </a:r>
            <a:endParaRPr lang="en-GB" sz="1600"/>
          </a:p>
          <a:p>
            <a:pPr marL="285750" indent="-285750">
              <a:buFont typeface="Arial" panose="020B0604020202020204" pitchFamily="34" charset="0"/>
              <a:buChar char="•"/>
            </a:pPr>
            <a:r>
              <a:rPr lang="en-GB" sz="1600"/>
              <a:t>Arithmetic with entire columns</a:t>
            </a:r>
          </a:p>
          <a:p>
            <a:pPr marL="285750" indent="-285750">
              <a:buFont typeface="Arial" panose="020B0604020202020204" pitchFamily="34" charset="0"/>
              <a:buChar char="•"/>
            </a:pPr>
            <a:r>
              <a:rPr lang="en-GB" sz="1600"/>
              <a:t>Transpose a </a:t>
            </a:r>
            <a:r>
              <a:rPr lang="en-GB" sz="1600" err="1"/>
              <a:t>DataFrame</a:t>
            </a:r>
            <a:endParaRPr lang="en-GB" sz="1600"/>
          </a:p>
          <a:p>
            <a:endParaRPr lang="en-GB" sz="1600"/>
          </a:p>
        </p:txBody>
      </p:sp>
      <p:sp>
        <p:nvSpPr>
          <p:cNvPr id="7" name="Inhaltsplatzhalter 6">
            <a:extLst>
              <a:ext uri="{FF2B5EF4-FFF2-40B4-BE49-F238E27FC236}">
                <a16:creationId xmlns:a16="http://schemas.microsoft.com/office/drawing/2014/main" id="{878F28C5-DC2C-F2E0-8249-98D22752E027}"/>
              </a:ext>
            </a:extLst>
          </p:cNvPr>
          <p:cNvSpPr>
            <a:spLocks noGrp="1"/>
          </p:cNvSpPr>
          <p:nvPr>
            <p:ph sz="half" idx="2"/>
          </p:nvPr>
        </p:nvSpPr>
        <p:spPr>
          <a:xfrm>
            <a:off x="4662487" y="1276350"/>
            <a:ext cx="4122737" cy="3435857"/>
          </a:xfrm>
        </p:spPr>
        <p:txBody>
          <a:bodyPr>
            <a:normAutofit/>
          </a:bodyPr>
          <a:lstStyle/>
          <a:p>
            <a:r>
              <a:rPr lang="en-GB"/>
              <a:t>Use the documentation of Pandas—it is brilliant!</a:t>
            </a:r>
          </a:p>
          <a:p>
            <a:endParaRPr lang="en-GB"/>
          </a:p>
          <a:p>
            <a:r>
              <a:rPr lang="en-GB"/>
              <a:t>Given a </a:t>
            </a:r>
            <a:r>
              <a:rPr lang="en-GB" err="1"/>
              <a:t>pd.DataFrame</a:t>
            </a:r>
            <a:r>
              <a:rPr lang="en-GB"/>
              <a:t> DF, we can inspect it as follows:</a:t>
            </a:r>
          </a:p>
          <a:p>
            <a:pPr marL="285750" indent="-285750">
              <a:buFontTx/>
              <a:buChar char="-"/>
              <a:tabLst>
                <a:tab pos="2335213" algn="l"/>
              </a:tabLst>
            </a:pPr>
            <a:r>
              <a:rPr lang="en-GB"/>
              <a:t>Show first </a:t>
            </a:r>
            <a:r>
              <a:rPr lang="en-GB" i="1"/>
              <a:t>n</a:t>
            </a:r>
            <a:r>
              <a:rPr lang="en-GB"/>
              <a:t> entries:	</a:t>
            </a:r>
            <a:r>
              <a:rPr lang="en-GB" err="1"/>
              <a:t>DF.head</a:t>
            </a:r>
            <a:r>
              <a:rPr lang="en-GB"/>
              <a:t>(</a:t>
            </a:r>
            <a:r>
              <a:rPr lang="en-GB" i="1"/>
              <a:t>n</a:t>
            </a:r>
            <a:r>
              <a:rPr lang="en-GB"/>
              <a:t>)</a:t>
            </a:r>
          </a:p>
          <a:p>
            <a:pPr marL="285750" indent="-285750">
              <a:buFontTx/>
              <a:buChar char="-"/>
              <a:tabLst>
                <a:tab pos="2335213" algn="l"/>
              </a:tabLst>
            </a:pPr>
            <a:r>
              <a:rPr lang="en-GB"/>
              <a:t>Show last </a:t>
            </a:r>
            <a:r>
              <a:rPr lang="en-GB" i="1"/>
              <a:t>n</a:t>
            </a:r>
            <a:r>
              <a:rPr lang="en-GB"/>
              <a:t> entries:	</a:t>
            </a:r>
            <a:r>
              <a:rPr lang="en-GB" err="1"/>
              <a:t>DF.tail</a:t>
            </a:r>
            <a:r>
              <a:rPr lang="en-GB"/>
              <a:t>(</a:t>
            </a:r>
            <a:r>
              <a:rPr lang="en-GB" i="1"/>
              <a:t>n</a:t>
            </a:r>
            <a:r>
              <a:rPr lang="en-GB"/>
              <a:t>)</a:t>
            </a:r>
          </a:p>
          <a:p>
            <a:pPr marL="285750" indent="-285750">
              <a:buFontTx/>
              <a:buChar char="-"/>
              <a:tabLst>
                <a:tab pos="2335213" algn="l"/>
              </a:tabLst>
            </a:pPr>
            <a:r>
              <a:rPr lang="en-GB"/>
              <a:t>Show </a:t>
            </a:r>
            <a:r>
              <a:rPr lang="en-GB" i="1"/>
              <a:t>n</a:t>
            </a:r>
            <a:r>
              <a:rPr lang="en-GB"/>
              <a:t> entries (random):	</a:t>
            </a:r>
            <a:r>
              <a:rPr lang="en-GB" err="1"/>
              <a:t>DF.sample</a:t>
            </a:r>
            <a:r>
              <a:rPr lang="en-GB"/>
              <a:t>(</a:t>
            </a:r>
            <a:r>
              <a:rPr lang="en-GB" i="1"/>
              <a:t>n</a:t>
            </a:r>
            <a:r>
              <a:rPr lang="en-GB"/>
              <a:t>)</a:t>
            </a:r>
          </a:p>
          <a:p>
            <a:pPr marL="285750" indent="-285750">
              <a:buFontTx/>
              <a:buChar char="-"/>
              <a:tabLst>
                <a:tab pos="2335213" algn="l"/>
              </a:tabLst>
            </a:pPr>
            <a:r>
              <a:rPr lang="en-GB"/>
              <a:t>Return list of columns	</a:t>
            </a:r>
            <a:r>
              <a:rPr lang="en-GB" err="1"/>
              <a:t>DF.columns</a:t>
            </a:r>
            <a:endParaRPr lang="en-GB"/>
          </a:p>
          <a:p>
            <a:pPr marL="285750" indent="-285750">
              <a:buFont typeface="Arial" panose="020B0604020202020204" pitchFamily="34" charset="0"/>
              <a:buChar char="•"/>
            </a:pPr>
            <a:endParaRPr lang="en-GB"/>
          </a:p>
        </p:txBody>
      </p:sp>
      <p:sp>
        <p:nvSpPr>
          <p:cNvPr id="3" name="Foliennummernplatzhalter 2">
            <a:extLst>
              <a:ext uri="{FF2B5EF4-FFF2-40B4-BE49-F238E27FC236}">
                <a16:creationId xmlns:a16="http://schemas.microsoft.com/office/drawing/2014/main" id="{D7C1CC86-C0E9-FAD8-64A7-E31EB225874F}"/>
              </a:ext>
            </a:extLst>
          </p:cNvPr>
          <p:cNvSpPr>
            <a:spLocks noGrp="1"/>
          </p:cNvSpPr>
          <p:nvPr>
            <p:ph type="sldNum" sz="quarter" idx="16"/>
          </p:nvPr>
        </p:nvSpPr>
        <p:spPr/>
        <p:txBody>
          <a:bodyPr/>
          <a:lstStyle/>
          <a:p>
            <a:fld id="{7559FC98-AF75-4A00-A03C-DF9FEBF6BCB9}" type="slidenum">
              <a:rPr lang="en-GB" smtClean="0"/>
              <a:pPr/>
              <a:t>6</a:t>
            </a:fld>
            <a:endParaRPr lang="en-GB"/>
          </a:p>
        </p:txBody>
      </p:sp>
    </p:spTree>
    <p:extLst>
      <p:ext uri="{BB962C8B-B14F-4D97-AF65-F5344CB8AC3E}">
        <p14:creationId xmlns:p14="http://schemas.microsoft.com/office/powerpoint/2010/main" val="39412768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0A79A4D-3B6C-366E-FAA7-EAF6E116F528}"/>
              </a:ext>
            </a:extLst>
          </p:cNvPr>
          <p:cNvSpPr>
            <a:spLocks noGrp="1"/>
          </p:cNvSpPr>
          <p:nvPr>
            <p:ph type="title"/>
          </p:nvPr>
        </p:nvSpPr>
        <p:spPr/>
        <p:txBody>
          <a:bodyPr/>
          <a:lstStyle/>
          <a:p>
            <a:r>
              <a:rPr lang="en-GB"/>
              <a:t>Assignment 8 and Quiz 8</a:t>
            </a:r>
          </a:p>
        </p:txBody>
      </p:sp>
      <p:sp>
        <p:nvSpPr>
          <p:cNvPr id="2" name="Textplatzhalter 1">
            <a:extLst>
              <a:ext uri="{FF2B5EF4-FFF2-40B4-BE49-F238E27FC236}">
                <a16:creationId xmlns:a16="http://schemas.microsoft.com/office/drawing/2014/main" id="{46FB8CD8-4038-0140-9D65-1F34C00B12C6}"/>
              </a:ext>
            </a:extLst>
          </p:cNvPr>
          <p:cNvSpPr>
            <a:spLocks noGrp="1"/>
          </p:cNvSpPr>
          <p:nvPr>
            <p:ph sz="half" idx="1"/>
          </p:nvPr>
        </p:nvSpPr>
        <p:spPr/>
        <p:txBody>
          <a:bodyPr>
            <a:normAutofit/>
          </a:bodyPr>
          <a:lstStyle/>
          <a:p>
            <a:pPr marL="0" indent="0"/>
            <a:r>
              <a:rPr lang="en-GB" sz="1600" u="sng"/>
              <a:t>Important concepts from assignment &amp; quiz 8</a:t>
            </a:r>
            <a:endParaRPr lang="en-GB" sz="1600"/>
          </a:p>
          <a:p>
            <a:pPr marL="285750" indent="-285750">
              <a:buFont typeface="Arial" panose="020B0604020202020204" pitchFamily="34" charset="0"/>
              <a:buChar char="•"/>
            </a:pPr>
            <a:r>
              <a:rPr lang="en-GB" sz="1600" err="1"/>
              <a:t>pd.DataFrame</a:t>
            </a:r>
            <a:r>
              <a:rPr lang="en-GB" sz="1600"/>
              <a:t> vs. </a:t>
            </a:r>
            <a:r>
              <a:rPr lang="en-GB" sz="1600" err="1"/>
              <a:t>pd.Series</a:t>
            </a:r>
            <a:endParaRPr lang="en-GB" sz="1600"/>
          </a:p>
          <a:p>
            <a:pPr marL="285750" indent="-285750">
              <a:buFont typeface="Arial" panose="020B0604020202020204" pitchFamily="34" charset="0"/>
              <a:buChar char="•"/>
            </a:pPr>
            <a:r>
              <a:rPr lang="en-GB" sz="1600"/>
              <a:t>How to inspect a DF? </a:t>
            </a:r>
          </a:p>
          <a:p>
            <a:pPr marL="285750" indent="-285750">
              <a:buFont typeface="Arial" panose="020B0604020202020204" pitchFamily="34" charset="0"/>
              <a:buChar char="•"/>
            </a:pPr>
            <a:r>
              <a:rPr lang="en-GB" sz="1600" b="1"/>
              <a:t>How to access data in a DF?</a:t>
            </a:r>
          </a:p>
          <a:p>
            <a:pPr marL="285750" indent="-285750">
              <a:buFont typeface="Arial" panose="020B0604020202020204" pitchFamily="34" charset="0"/>
              <a:buChar char="•"/>
            </a:pPr>
            <a:r>
              <a:rPr lang="en-GB" sz="1600"/>
              <a:t>How to change a DF? (hint: copy it first)</a:t>
            </a:r>
          </a:p>
          <a:p>
            <a:pPr marL="285750" indent="-285750">
              <a:buFont typeface="Arial" panose="020B0604020202020204" pitchFamily="34" charset="0"/>
              <a:buChar char="•"/>
            </a:pPr>
            <a:r>
              <a:rPr lang="en-GB" sz="1600"/>
              <a:t>Add a column to a </a:t>
            </a:r>
            <a:r>
              <a:rPr lang="en-GB" sz="1600" err="1"/>
              <a:t>Df</a:t>
            </a:r>
            <a:endParaRPr lang="en-GB" sz="1600"/>
          </a:p>
          <a:p>
            <a:pPr marL="285750" indent="-285750">
              <a:buFont typeface="Arial" panose="020B0604020202020204" pitchFamily="34" charset="0"/>
              <a:buChar char="•"/>
            </a:pPr>
            <a:r>
              <a:rPr lang="en-GB" sz="1600"/>
              <a:t>Arithmetic with entire columns</a:t>
            </a:r>
          </a:p>
          <a:p>
            <a:pPr marL="285750" indent="-285750">
              <a:buFont typeface="Arial" panose="020B0604020202020204" pitchFamily="34" charset="0"/>
              <a:buChar char="•"/>
            </a:pPr>
            <a:r>
              <a:rPr lang="en-GB" sz="1600"/>
              <a:t>Transpose a </a:t>
            </a:r>
            <a:r>
              <a:rPr lang="en-GB" sz="1600" err="1"/>
              <a:t>DataFrame</a:t>
            </a:r>
            <a:endParaRPr lang="en-GB" sz="1600"/>
          </a:p>
          <a:p>
            <a:endParaRPr lang="en-GB" sz="1600"/>
          </a:p>
        </p:txBody>
      </p:sp>
      <p:sp>
        <p:nvSpPr>
          <p:cNvPr id="7" name="Inhaltsplatzhalter 6">
            <a:extLst>
              <a:ext uri="{FF2B5EF4-FFF2-40B4-BE49-F238E27FC236}">
                <a16:creationId xmlns:a16="http://schemas.microsoft.com/office/drawing/2014/main" id="{878F28C5-DC2C-F2E0-8249-98D22752E027}"/>
              </a:ext>
            </a:extLst>
          </p:cNvPr>
          <p:cNvSpPr>
            <a:spLocks noGrp="1"/>
          </p:cNvSpPr>
          <p:nvPr>
            <p:ph sz="half" idx="2"/>
          </p:nvPr>
        </p:nvSpPr>
        <p:spPr>
          <a:xfrm>
            <a:off x="4662487" y="706180"/>
            <a:ext cx="4329113" cy="2651686"/>
          </a:xfrm>
        </p:spPr>
        <p:txBody>
          <a:bodyPr>
            <a:normAutofit/>
          </a:bodyPr>
          <a:lstStyle/>
          <a:p>
            <a:r>
              <a:rPr lang="en-GB" sz="1200"/>
              <a:t>Use the documentation of Pandas—it is brilliant!</a:t>
            </a:r>
          </a:p>
          <a:p>
            <a:endParaRPr lang="en-GB" sz="1200"/>
          </a:p>
          <a:p>
            <a:r>
              <a:rPr lang="en-GB" sz="1200"/>
              <a:t>Select data by row:</a:t>
            </a:r>
          </a:p>
          <a:p>
            <a:r>
              <a:rPr lang="en-GB" sz="1200"/>
              <a:t>… using the index names:	</a:t>
            </a:r>
            <a:r>
              <a:rPr lang="en-GB" sz="1200" err="1"/>
              <a:t>DF.loc</a:t>
            </a:r>
            <a:r>
              <a:rPr lang="en-GB" sz="1200"/>
              <a:t>[</a:t>
            </a:r>
            <a:r>
              <a:rPr lang="en-GB" sz="1200" err="1"/>
              <a:t>index_name</a:t>
            </a:r>
            <a:r>
              <a:rPr lang="en-GB" sz="1200"/>
              <a:t>] (any type)</a:t>
            </a:r>
          </a:p>
          <a:p>
            <a:r>
              <a:rPr lang="en-GB" sz="1200"/>
              <a:t>… using the index count:	</a:t>
            </a:r>
            <a:r>
              <a:rPr lang="en-GB" sz="1200" err="1"/>
              <a:t>DF.iloc</a:t>
            </a:r>
            <a:r>
              <a:rPr lang="en-GB" sz="1200"/>
              <a:t>[</a:t>
            </a:r>
            <a:r>
              <a:rPr lang="en-GB" sz="1200" err="1"/>
              <a:t>index_count</a:t>
            </a:r>
            <a:r>
              <a:rPr lang="en-GB" sz="1200"/>
              <a:t>] (int)</a:t>
            </a:r>
          </a:p>
          <a:p>
            <a:r>
              <a:rPr lang="en-GB" sz="1200"/>
              <a:t>Select data by column:</a:t>
            </a:r>
          </a:p>
          <a:p>
            <a:r>
              <a:rPr lang="en-GB" sz="1200"/>
              <a:t>… using the column names:	DF[‘</a:t>
            </a:r>
            <a:r>
              <a:rPr lang="en-GB" sz="1200" err="1"/>
              <a:t>column_name</a:t>
            </a:r>
            <a:r>
              <a:rPr lang="en-GB" sz="1200"/>
              <a:t>’]</a:t>
            </a:r>
          </a:p>
          <a:p>
            <a:r>
              <a:rPr lang="en-GB" sz="1200"/>
              <a:t>… using the column names:	</a:t>
            </a:r>
            <a:r>
              <a:rPr lang="en-GB" sz="1200" err="1"/>
              <a:t>DF.column_name</a:t>
            </a:r>
            <a:endParaRPr lang="en-GB" sz="1200"/>
          </a:p>
          <a:p>
            <a:r>
              <a:rPr lang="en-GB" sz="1200"/>
              <a:t>Select data by row and column:</a:t>
            </a:r>
          </a:p>
          <a:p>
            <a:r>
              <a:rPr lang="en-GB" sz="1200"/>
              <a:t>	</a:t>
            </a:r>
            <a:r>
              <a:rPr lang="en-GB" sz="1200">
                <a:sym typeface="Wingdings" panose="05000000000000000000" pitchFamily="2" charset="2"/>
              </a:rPr>
              <a:t> </a:t>
            </a:r>
            <a:r>
              <a:rPr lang="en-GB" sz="1200" err="1">
                <a:sym typeface="Wingdings" panose="05000000000000000000" pitchFamily="2" charset="2"/>
              </a:rPr>
              <a:t>DF.loc</a:t>
            </a:r>
            <a:r>
              <a:rPr lang="en-GB" sz="1200">
                <a:sym typeface="Wingdings" panose="05000000000000000000" pitchFamily="2" charset="2"/>
              </a:rPr>
              <a:t>[</a:t>
            </a:r>
            <a:r>
              <a:rPr lang="en-GB" sz="1200" err="1">
                <a:sym typeface="Wingdings" panose="05000000000000000000" pitchFamily="2" charset="2"/>
              </a:rPr>
              <a:t>index_name</a:t>
            </a:r>
            <a:r>
              <a:rPr lang="en-GB" sz="1200">
                <a:sym typeface="Wingdings" panose="05000000000000000000" pitchFamily="2" charset="2"/>
              </a:rPr>
              <a:t>, </a:t>
            </a:r>
            <a:r>
              <a:rPr lang="en-GB" sz="1200" err="1">
                <a:sym typeface="Wingdings" panose="05000000000000000000" pitchFamily="2" charset="2"/>
              </a:rPr>
              <a:t>column_name</a:t>
            </a:r>
            <a:r>
              <a:rPr lang="en-GB" sz="1200">
                <a:sym typeface="Wingdings" panose="05000000000000000000" pitchFamily="2" charset="2"/>
              </a:rPr>
              <a:t>] -&gt; </a:t>
            </a:r>
            <a:r>
              <a:rPr lang="en-GB" sz="1200" err="1">
                <a:sym typeface="Wingdings" panose="05000000000000000000" pitchFamily="2" charset="2"/>
              </a:rPr>
              <a:t>pd.Series</a:t>
            </a:r>
            <a:endParaRPr lang="en-GB" sz="1200">
              <a:sym typeface="Wingdings" panose="05000000000000000000" pitchFamily="2" charset="2"/>
            </a:endParaRPr>
          </a:p>
          <a:p>
            <a:r>
              <a:rPr lang="en-GB" sz="1200">
                <a:sym typeface="Wingdings" panose="05000000000000000000" pitchFamily="2" charset="2"/>
              </a:rPr>
              <a:t>	 </a:t>
            </a:r>
            <a:r>
              <a:rPr lang="en-GB" sz="1200" err="1">
                <a:sym typeface="Wingdings" panose="05000000000000000000" pitchFamily="2" charset="2"/>
              </a:rPr>
              <a:t>DF.loc</a:t>
            </a:r>
            <a:r>
              <a:rPr lang="en-GB" sz="1200">
                <a:sym typeface="Wingdings" panose="05000000000000000000" pitchFamily="2" charset="2"/>
              </a:rPr>
              <a:t>[</a:t>
            </a:r>
            <a:r>
              <a:rPr lang="en-GB" sz="1200" err="1">
                <a:sym typeface="Wingdings" panose="05000000000000000000" pitchFamily="2" charset="2"/>
              </a:rPr>
              <a:t>index_name</a:t>
            </a:r>
            <a:r>
              <a:rPr lang="en-GB" sz="1200">
                <a:sym typeface="Wingdings" panose="05000000000000000000" pitchFamily="2" charset="2"/>
              </a:rPr>
              <a:t>, [</a:t>
            </a:r>
            <a:r>
              <a:rPr lang="en-GB" sz="1200" err="1">
                <a:sym typeface="Wingdings" panose="05000000000000000000" pitchFamily="2" charset="2"/>
              </a:rPr>
              <a:t>column_name</a:t>
            </a:r>
            <a:r>
              <a:rPr lang="en-GB" sz="1200">
                <a:sym typeface="Wingdings" panose="05000000000000000000" pitchFamily="2" charset="2"/>
              </a:rPr>
              <a:t>]] -&gt; </a:t>
            </a:r>
            <a:r>
              <a:rPr lang="en-GB" sz="1200" err="1">
                <a:sym typeface="Wingdings" panose="05000000000000000000" pitchFamily="2" charset="2"/>
              </a:rPr>
              <a:t>pd.DataFrame</a:t>
            </a:r>
            <a:endParaRPr lang="en-GB" sz="1200">
              <a:sym typeface="Wingdings" panose="05000000000000000000" pitchFamily="2" charset="2"/>
            </a:endParaRPr>
          </a:p>
          <a:p>
            <a:r>
              <a:rPr lang="en-GB" sz="1200">
                <a:sym typeface="Wingdings" panose="05000000000000000000" pitchFamily="2" charset="2"/>
              </a:rPr>
              <a:t>	 </a:t>
            </a:r>
            <a:r>
              <a:rPr lang="en-GB" sz="1200" err="1">
                <a:sym typeface="Wingdings" panose="05000000000000000000" pitchFamily="2" charset="2"/>
              </a:rPr>
              <a:t>DF.iloc</a:t>
            </a:r>
            <a:r>
              <a:rPr lang="en-GB" sz="1200">
                <a:sym typeface="Wingdings" panose="05000000000000000000" pitchFamily="2" charset="2"/>
              </a:rPr>
              <a:t>[</a:t>
            </a:r>
            <a:r>
              <a:rPr lang="en-GB" sz="1200" err="1">
                <a:sym typeface="Wingdings" panose="05000000000000000000" pitchFamily="2" charset="2"/>
              </a:rPr>
              <a:t>index_count</a:t>
            </a:r>
            <a:r>
              <a:rPr lang="en-GB" sz="1200">
                <a:sym typeface="Wingdings" panose="05000000000000000000" pitchFamily="2" charset="2"/>
              </a:rPr>
              <a:t>, </a:t>
            </a:r>
            <a:r>
              <a:rPr lang="en-GB" sz="1200" err="1">
                <a:sym typeface="Wingdings" panose="05000000000000000000" pitchFamily="2" charset="2"/>
              </a:rPr>
              <a:t>column_name</a:t>
            </a:r>
            <a:r>
              <a:rPr lang="en-GB" sz="1200">
                <a:sym typeface="Wingdings" panose="05000000000000000000" pitchFamily="2" charset="2"/>
              </a:rPr>
              <a:t>] -&gt; </a:t>
            </a:r>
            <a:r>
              <a:rPr lang="en-GB" sz="1200" err="1">
                <a:sym typeface="Wingdings" panose="05000000000000000000" pitchFamily="2" charset="2"/>
              </a:rPr>
              <a:t>pd.Series</a:t>
            </a:r>
            <a:endParaRPr lang="en-GB" sz="1200">
              <a:sym typeface="Wingdings" panose="05000000000000000000" pitchFamily="2" charset="2"/>
            </a:endParaRPr>
          </a:p>
          <a:p>
            <a:r>
              <a:rPr lang="en-GB" sz="1200">
                <a:sym typeface="Wingdings" panose="05000000000000000000" pitchFamily="2" charset="2"/>
              </a:rPr>
              <a:t>	 </a:t>
            </a:r>
            <a:r>
              <a:rPr lang="en-GB" sz="1200" err="1">
                <a:sym typeface="Wingdings" panose="05000000000000000000" pitchFamily="2" charset="2"/>
              </a:rPr>
              <a:t>DF.iloc</a:t>
            </a:r>
            <a:r>
              <a:rPr lang="en-GB" sz="1200">
                <a:sym typeface="Wingdings" panose="05000000000000000000" pitchFamily="2" charset="2"/>
              </a:rPr>
              <a:t>[slice of index count][</a:t>
            </a:r>
            <a:r>
              <a:rPr lang="en-GB" sz="1200" err="1">
                <a:sym typeface="Wingdings" panose="05000000000000000000" pitchFamily="2" charset="2"/>
              </a:rPr>
              <a:t>column_name</a:t>
            </a:r>
            <a:r>
              <a:rPr lang="en-GB" sz="1200">
                <a:sym typeface="Wingdings" panose="05000000000000000000" pitchFamily="2" charset="2"/>
              </a:rPr>
              <a:t>] -&gt; </a:t>
            </a:r>
            <a:r>
              <a:rPr lang="en-GB" sz="1200" err="1">
                <a:sym typeface="Wingdings" panose="05000000000000000000" pitchFamily="2" charset="2"/>
              </a:rPr>
              <a:t>pd.Series</a:t>
            </a:r>
            <a:endParaRPr lang="en-GB" sz="1200">
              <a:sym typeface="Wingdings" panose="05000000000000000000" pitchFamily="2" charset="2"/>
            </a:endParaRPr>
          </a:p>
          <a:p>
            <a:r>
              <a:rPr lang="en-GB" sz="1200">
                <a:sym typeface="Wingdings" panose="05000000000000000000" pitchFamily="2" charset="2"/>
              </a:rPr>
              <a:t>	 ...</a:t>
            </a:r>
          </a:p>
        </p:txBody>
      </p:sp>
      <p:sp>
        <p:nvSpPr>
          <p:cNvPr id="3" name="Foliennummernplatzhalter 2">
            <a:extLst>
              <a:ext uri="{FF2B5EF4-FFF2-40B4-BE49-F238E27FC236}">
                <a16:creationId xmlns:a16="http://schemas.microsoft.com/office/drawing/2014/main" id="{D7C1CC86-C0E9-FAD8-64A7-E31EB225874F}"/>
              </a:ext>
            </a:extLst>
          </p:cNvPr>
          <p:cNvSpPr>
            <a:spLocks noGrp="1"/>
          </p:cNvSpPr>
          <p:nvPr>
            <p:ph type="sldNum" sz="quarter" idx="16"/>
          </p:nvPr>
        </p:nvSpPr>
        <p:spPr/>
        <p:txBody>
          <a:bodyPr/>
          <a:lstStyle/>
          <a:p>
            <a:fld id="{7559FC98-AF75-4A00-A03C-DF9FEBF6BCB9}" type="slidenum">
              <a:rPr lang="en-GB" smtClean="0"/>
              <a:pPr/>
              <a:t>7</a:t>
            </a:fld>
            <a:endParaRPr lang="en-GB"/>
          </a:p>
        </p:txBody>
      </p:sp>
      <p:sp>
        <p:nvSpPr>
          <p:cNvPr id="5" name="Rechteck 4">
            <a:extLst>
              <a:ext uri="{FF2B5EF4-FFF2-40B4-BE49-F238E27FC236}">
                <a16:creationId xmlns:a16="http://schemas.microsoft.com/office/drawing/2014/main" id="{9303636A-67E4-54D4-97EB-47073BA8FC2A}"/>
              </a:ext>
            </a:extLst>
          </p:cNvPr>
          <p:cNvSpPr/>
          <p:nvPr/>
        </p:nvSpPr>
        <p:spPr>
          <a:xfrm>
            <a:off x="6730608" y="3869944"/>
            <a:ext cx="1517904" cy="121996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ysClr val="windowText" lastClr="000000"/>
                </a:solidFill>
              </a:rPr>
              <a:t>data</a:t>
            </a:r>
          </a:p>
        </p:txBody>
      </p:sp>
      <p:sp>
        <p:nvSpPr>
          <p:cNvPr id="10" name="Rechteck 9">
            <a:extLst>
              <a:ext uri="{FF2B5EF4-FFF2-40B4-BE49-F238E27FC236}">
                <a16:creationId xmlns:a16="http://schemas.microsoft.com/office/drawing/2014/main" id="{816CE20C-137D-C76B-717C-43451BA6DC18}"/>
              </a:ext>
            </a:extLst>
          </p:cNvPr>
          <p:cNvSpPr/>
          <p:nvPr/>
        </p:nvSpPr>
        <p:spPr>
          <a:xfrm rot="16200000">
            <a:off x="5262211" y="4373245"/>
            <a:ext cx="1219962" cy="21336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index count</a:t>
            </a:r>
          </a:p>
        </p:txBody>
      </p:sp>
      <p:sp>
        <p:nvSpPr>
          <p:cNvPr id="11" name="Textfeld 10">
            <a:extLst>
              <a:ext uri="{FF2B5EF4-FFF2-40B4-BE49-F238E27FC236}">
                <a16:creationId xmlns:a16="http://schemas.microsoft.com/office/drawing/2014/main" id="{6AFE9F74-C4D5-DE10-14CB-225417956983}"/>
              </a:ext>
            </a:extLst>
          </p:cNvPr>
          <p:cNvSpPr txBox="1"/>
          <p:nvPr/>
        </p:nvSpPr>
        <p:spPr>
          <a:xfrm>
            <a:off x="5488495" y="3869943"/>
            <a:ext cx="277016" cy="707886"/>
          </a:xfrm>
          <a:prstGeom prst="rect">
            <a:avLst/>
          </a:prstGeom>
          <a:noFill/>
        </p:spPr>
        <p:txBody>
          <a:bodyPr wrap="square" rtlCol="0">
            <a:spAutoFit/>
          </a:bodyPr>
          <a:lstStyle/>
          <a:p>
            <a:pPr algn="ctr"/>
            <a:r>
              <a:rPr lang="en-GB" sz="1000"/>
              <a:t>0</a:t>
            </a:r>
          </a:p>
          <a:p>
            <a:pPr algn="ctr"/>
            <a:r>
              <a:rPr lang="en-GB" sz="1000"/>
              <a:t>1</a:t>
            </a:r>
          </a:p>
          <a:p>
            <a:pPr algn="ctr"/>
            <a:r>
              <a:rPr lang="en-GB" sz="1000"/>
              <a:t>2</a:t>
            </a:r>
          </a:p>
          <a:p>
            <a:pPr algn="ctr"/>
            <a:r>
              <a:rPr lang="en-GB" sz="1000"/>
              <a:t>...</a:t>
            </a:r>
          </a:p>
        </p:txBody>
      </p:sp>
      <p:sp>
        <p:nvSpPr>
          <p:cNvPr id="12" name="Rechteck 11">
            <a:extLst>
              <a:ext uri="{FF2B5EF4-FFF2-40B4-BE49-F238E27FC236}">
                <a16:creationId xmlns:a16="http://schemas.microsoft.com/office/drawing/2014/main" id="{D3C8B9BF-6943-E3AB-278A-4C29B2B8EEA0}"/>
              </a:ext>
            </a:extLst>
          </p:cNvPr>
          <p:cNvSpPr/>
          <p:nvPr/>
        </p:nvSpPr>
        <p:spPr>
          <a:xfrm rot="16200000">
            <a:off x="5959413" y="4373245"/>
            <a:ext cx="1219962" cy="213360"/>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index names</a:t>
            </a:r>
          </a:p>
        </p:txBody>
      </p:sp>
      <p:sp>
        <p:nvSpPr>
          <p:cNvPr id="13" name="Textfeld 12">
            <a:extLst>
              <a:ext uri="{FF2B5EF4-FFF2-40B4-BE49-F238E27FC236}">
                <a16:creationId xmlns:a16="http://schemas.microsoft.com/office/drawing/2014/main" id="{89AEC1A2-8436-5D18-DCE3-25B1ECAAAD36}"/>
              </a:ext>
            </a:extLst>
          </p:cNvPr>
          <p:cNvSpPr txBox="1"/>
          <p:nvPr/>
        </p:nvSpPr>
        <p:spPr>
          <a:xfrm>
            <a:off x="5978872" y="3869943"/>
            <a:ext cx="422431" cy="707886"/>
          </a:xfrm>
          <a:prstGeom prst="rect">
            <a:avLst/>
          </a:prstGeom>
          <a:noFill/>
        </p:spPr>
        <p:txBody>
          <a:bodyPr wrap="square" rtlCol="0">
            <a:spAutoFit/>
          </a:bodyPr>
          <a:lstStyle/>
          <a:p>
            <a:pPr algn="ctr"/>
            <a:r>
              <a:rPr lang="en-GB" sz="1000"/>
              <a:t>A01</a:t>
            </a:r>
          </a:p>
          <a:p>
            <a:pPr algn="ctr"/>
            <a:r>
              <a:rPr lang="en-GB" sz="1000"/>
              <a:t>A03</a:t>
            </a:r>
          </a:p>
          <a:p>
            <a:pPr algn="ctr"/>
            <a:r>
              <a:rPr lang="en-GB" sz="1000"/>
              <a:t>B20</a:t>
            </a:r>
          </a:p>
          <a:p>
            <a:pPr algn="ctr"/>
            <a:r>
              <a:rPr lang="en-GB" sz="1000"/>
              <a:t>…</a:t>
            </a:r>
          </a:p>
        </p:txBody>
      </p:sp>
      <p:sp>
        <p:nvSpPr>
          <p:cNvPr id="14" name="Rechteck 13">
            <a:extLst>
              <a:ext uri="{FF2B5EF4-FFF2-40B4-BE49-F238E27FC236}">
                <a16:creationId xmlns:a16="http://schemas.microsoft.com/office/drawing/2014/main" id="{8A917D9F-B0DD-FC9B-BA47-AEC15D79F24D}"/>
              </a:ext>
            </a:extLst>
          </p:cNvPr>
          <p:cNvSpPr/>
          <p:nvPr/>
        </p:nvSpPr>
        <p:spPr>
          <a:xfrm>
            <a:off x="6730608" y="3601375"/>
            <a:ext cx="1517904" cy="21336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column names</a:t>
            </a:r>
          </a:p>
        </p:txBody>
      </p:sp>
      <p:sp>
        <p:nvSpPr>
          <p:cNvPr id="15" name="Textfeld 14">
            <a:extLst>
              <a:ext uri="{FF2B5EF4-FFF2-40B4-BE49-F238E27FC236}">
                <a16:creationId xmlns:a16="http://schemas.microsoft.com/office/drawing/2014/main" id="{FBB48845-C310-D535-E49F-8346442C4CEC}"/>
              </a:ext>
            </a:extLst>
          </p:cNvPr>
          <p:cNvSpPr txBox="1"/>
          <p:nvPr/>
        </p:nvSpPr>
        <p:spPr>
          <a:xfrm>
            <a:off x="6730608" y="3348167"/>
            <a:ext cx="1517904" cy="246221"/>
          </a:xfrm>
          <a:prstGeom prst="rect">
            <a:avLst/>
          </a:prstGeom>
          <a:noFill/>
        </p:spPr>
        <p:txBody>
          <a:bodyPr wrap="square" rtlCol="0">
            <a:spAutoFit/>
          </a:bodyPr>
          <a:lstStyle/>
          <a:p>
            <a:pPr algn="ctr"/>
            <a:r>
              <a:rPr lang="en-GB" sz="1000" err="1"/>
              <a:t>fname</a:t>
            </a:r>
            <a:r>
              <a:rPr lang="en-GB" sz="1000"/>
              <a:t> | </a:t>
            </a:r>
            <a:r>
              <a:rPr lang="en-GB" sz="1000" err="1"/>
              <a:t>lname</a:t>
            </a:r>
            <a:r>
              <a:rPr lang="en-GB" sz="1000"/>
              <a:t> | </a:t>
            </a:r>
            <a:r>
              <a:rPr lang="en-GB" sz="1000" err="1"/>
              <a:t>order_nr</a:t>
            </a:r>
            <a:endParaRPr lang="en-GB" sz="1000"/>
          </a:p>
        </p:txBody>
      </p:sp>
    </p:spTree>
    <p:extLst>
      <p:ext uri="{BB962C8B-B14F-4D97-AF65-F5344CB8AC3E}">
        <p14:creationId xmlns:p14="http://schemas.microsoft.com/office/powerpoint/2010/main" val="34446487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0" grpId="0" animBg="1"/>
      <p:bldP spid="12" grpId="0" animBg="1"/>
      <p:bldP spid="1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0A79A4D-3B6C-366E-FAA7-EAF6E116F528}"/>
              </a:ext>
            </a:extLst>
          </p:cNvPr>
          <p:cNvSpPr>
            <a:spLocks noGrp="1"/>
          </p:cNvSpPr>
          <p:nvPr>
            <p:ph type="title"/>
          </p:nvPr>
        </p:nvSpPr>
        <p:spPr/>
        <p:txBody>
          <a:bodyPr/>
          <a:lstStyle/>
          <a:p>
            <a:r>
              <a:rPr lang="en-GB"/>
              <a:t>Assignment 8 and Quiz 8</a:t>
            </a:r>
          </a:p>
        </p:txBody>
      </p:sp>
      <p:sp>
        <p:nvSpPr>
          <p:cNvPr id="2" name="Textplatzhalter 1">
            <a:extLst>
              <a:ext uri="{FF2B5EF4-FFF2-40B4-BE49-F238E27FC236}">
                <a16:creationId xmlns:a16="http://schemas.microsoft.com/office/drawing/2014/main" id="{46FB8CD8-4038-0140-9D65-1F34C00B12C6}"/>
              </a:ext>
            </a:extLst>
          </p:cNvPr>
          <p:cNvSpPr>
            <a:spLocks noGrp="1"/>
          </p:cNvSpPr>
          <p:nvPr>
            <p:ph sz="half" idx="1"/>
          </p:nvPr>
        </p:nvSpPr>
        <p:spPr/>
        <p:txBody>
          <a:bodyPr>
            <a:normAutofit/>
          </a:bodyPr>
          <a:lstStyle/>
          <a:p>
            <a:pPr marL="0" indent="0"/>
            <a:r>
              <a:rPr lang="en-GB" sz="1600" u="sng"/>
              <a:t>Important concepts from assignment &amp; quiz 8</a:t>
            </a:r>
            <a:endParaRPr lang="en-GB" sz="1600"/>
          </a:p>
          <a:p>
            <a:pPr marL="285750" indent="-285750">
              <a:buFont typeface="Arial" panose="020B0604020202020204" pitchFamily="34" charset="0"/>
              <a:buChar char="•"/>
            </a:pPr>
            <a:r>
              <a:rPr lang="en-GB" sz="1600" err="1"/>
              <a:t>pd.DataFrame</a:t>
            </a:r>
            <a:r>
              <a:rPr lang="en-GB" sz="1600"/>
              <a:t> vs. </a:t>
            </a:r>
            <a:r>
              <a:rPr lang="en-GB" sz="1600" err="1"/>
              <a:t>pd.Series</a:t>
            </a:r>
            <a:endParaRPr lang="en-GB" sz="1600"/>
          </a:p>
          <a:p>
            <a:pPr marL="285750" indent="-285750">
              <a:buFont typeface="Arial" panose="020B0604020202020204" pitchFamily="34" charset="0"/>
              <a:buChar char="•"/>
            </a:pPr>
            <a:r>
              <a:rPr lang="en-GB" sz="1600"/>
              <a:t>How to inspect a DF? </a:t>
            </a:r>
          </a:p>
          <a:p>
            <a:pPr marL="285750" indent="-285750">
              <a:buFont typeface="Arial" panose="020B0604020202020204" pitchFamily="34" charset="0"/>
              <a:buChar char="•"/>
            </a:pPr>
            <a:r>
              <a:rPr lang="en-GB" sz="1600"/>
              <a:t>How to access data in a DF?</a:t>
            </a:r>
          </a:p>
          <a:p>
            <a:pPr marL="285750" indent="-285750">
              <a:buFont typeface="Arial" panose="020B0604020202020204" pitchFamily="34" charset="0"/>
              <a:buChar char="•"/>
            </a:pPr>
            <a:r>
              <a:rPr lang="en-GB" sz="1600" b="1"/>
              <a:t>How to change a DF? (hint: copy it first)</a:t>
            </a:r>
          </a:p>
          <a:p>
            <a:pPr marL="285750" indent="-285750">
              <a:buFont typeface="Arial" panose="020B0604020202020204" pitchFamily="34" charset="0"/>
              <a:buChar char="•"/>
            </a:pPr>
            <a:r>
              <a:rPr lang="en-GB" sz="1600"/>
              <a:t>Add a column to a DF</a:t>
            </a:r>
          </a:p>
          <a:p>
            <a:pPr marL="285750" indent="-285750">
              <a:buFont typeface="Arial" panose="020B0604020202020204" pitchFamily="34" charset="0"/>
              <a:buChar char="•"/>
            </a:pPr>
            <a:r>
              <a:rPr lang="en-GB" sz="1600"/>
              <a:t>Arithmetic with entire columns</a:t>
            </a:r>
          </a:p>
          <a:p>
            <a:pPr marL="285750" indent="-285750">
              <a:buFont typeface="Arial" panose="020B0604020202020204" pitchFamily="34" charset="0"/>
              <a:buChar char="•"/>
            </a:pPr>
            <a:r>
              <a:rPr lang="en-GB" sz="1600"/>
              <a:t>Transpose a </a:t>
            </a:r>
            <a:r>
              <a:rPr lang="en-GB" sz="1600" err="1"/>
              <a:t>DataFrame</a:t>
            </a:r>
            <a:endParaRPr lang="en-GB" sz="1600"/>
          </a:p>
          <a:p>
            <a:endParaRPr lang="en-GB" sz="1600"/>
          </a:p>
        </p:txBody>
      </p:sp>
      <p:sp>
        <p:nvSpPr>
          <p:cNvPr id="3" name="Foliennummernplatzhalter 2">
            <a:extLst>
              <a:ext uri="{FF2B5EF4-FFF2-40B4-BE49-F238E27FC236}">
                <a16:creationId xmlns:a16="http://schemas.microsoft.com/office/drawing/2014/main" id="{D7C1CC86-C0E9-FAD8-64A7-E31EB225874F}"/>
              </a:ext>
            </a:extLst>
          </p:cNvPr>
          <p:cNvSpPr>
            <a:spLocks noGrp="1"/>
          </p:cNvSpPr>
          <p:nvPr>
            <p:ph type="sldNum" sz="quarter" idx="16"/>
          </p:nvPr>
        </p:nvSpPr>
        <p:spPr/>
        <p:txBody>
          <a:bodyPr/>
          <a:lstStyle/>
          <a:p>
            <a:fld id="{7559FC98-AF75-4A00-A03C-DF9FEBF6BCB9}" type="slidenum">
              <a:rPr lang="en-GB" smtClean="0"/>
              <a:pPr/>
              <a:t>8</a:t>
            </a:fld>
            <a:endParaRPr lang="en-GB"/>
          </a:p>
        </p:txBody>
      </p:sp>
      <p:pic>
        <p:nvPicPr>
          <p:cNvPr id="9" name="Inhaltsplatzhalter 8">
            <a:extLst>
              <a:ext uri="{FF2B5EF4-FFF2-40B4-BE49-F238E27FC236}">
                <a16:creationId xmlns:a16="http://schemas.microsoft.com/office/drawing/2014/main" id="{0810FC6C-6F0C-422F-E1DF-BA742D790FAB}"/>
              </a:ext>
            </a:extLst>
          </p:cNvPr>
          <p:cNvPicPr>
            <a:picLocks noGrp="1" noChangeAspect="1"/>
          </p:cNvPicPr>
          <p:nvPr>
            <p:ph sz="half" idx="2"/>
          </p:nvPr>
        </p:nvPicPr>
        <p:blipFill>
          <a:blip r:embed="rId2"/>
          <a:stretch>
            <a:fillRect/>
          </a:stretch>
        </p:blipFill>
        <p:spPr>
          <a:xfrm>
            <a:off x="4938929" y="1276350"/>
            <a:ext cx="3569854" cy="3203575"/>
          </a:xfrm>
          <a:prstGeom prst="rect">
            <a:avLst/>
          </a:prstGeom>
        </p:spPr>
      </p:pic>
    </p:spTree>
    <p:extLst>
      <p:ext uri="{BB962C8B-B14F-4D97-AF65-F5344CB8AC3E}">
        <p14:creationId xmlns:p14="http://schemas.microsoft.com/office/powerpoint/2010/main" val="12133462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0A79A4D-3B6C-366E-FAA7-EAF6E116F528}"/>
              </a:ext>
            </a:extLst>
          </p:cNvPr>
          <p:cNvSpPr>
            <a:spLocks noGrp="1"/>
          </p:cNvSpPr>
          <p:nvPr>
            <p:ph type="title"/>
          </p:nvPr>
        </p:nvSpPr>
        <p:spPr/>
        <p:txBody>
          <a:bodyPr/>
          <a:lstStyle/>
          <a:p>
            <a:r>
              <a:rPr lang="en-GB"/>
              <a:t>Assignment 8 and Quiz 8</a:t>
            </a:r>
          </a:p>
        </p:txBody>
      </p:sp>
      <p:sp>
        <p:nvSpPr>
          <p:cNvPr id="2" name="Textplatzhalter 1">
            <a:extLst>
              <a:ext uri="{FF2B5EF4-FFF2-40B4-BE49-F238E27FC236}">
                <a16:creationId xmlns:a16="http://schemas.microsoft.com/office/drawing/2014/main" id="{46FB8CD8-4038-0140-9D65-1F34C00B12C6}"/>
              </a:ext>
            </a:extLst>
          </p:cNvPr>
          <p:cNvSpPr>
            <a:spLocks noGrp="1"/>
          </p:cNvSpPr>
          <p:nvPr>
            <p:ph sz="half" idx="1"/>
          </p:nvPr>
        </p:nvSpPr>
        <p:spPr/>
        <p:txBody>
          <a:bodyPr>
            <a:normAutofit/>
          </a:bodyPr>
          <a:lstStyle/>
          <a:p>
            <a:pPr marL="0" indent="0"/>
            <a:r>
              <a:rPr lang="en-GB" sz="1600" u="sng"/>
              <a:t>Important concepts from assignment &amp; quiz 8</a:t>
            </a:r>
            <a:endParaRPr lang="en-GB" sz="1600"/>
          </a:p>
          <a:p>
            <a:pPr marL="285750" indent="-285750">
              <a:buFont typeface="Arial" panose="020B0604020202020204" pitchFamily="34" charset="0"/>
              <a:buChar char="•"/>
            </a:pPr>
            <a:r>
              <a:rPr lang="en-GB" sz="1600" err="1"/>
              <a:t>pd.DataFrame</a:t>
            </a:r>
            <a:r>
              <a:rPr lang="en-GB" sz="1600"/>
              <a:t> vs. </a:t>
            </a:r>
            <a:r>
              <a:rPr lang="en-GB" sz="1600" err="1"/>
              <a:t>pd.Series</a:t>
            </a:r>
            <a:endParaRPr lang="en-GB" sz="1600"/>
          </a:p>
          <a:p>
            <a:pPr marL="285750" indent="-285750">
              <a:buFont typeface="Arial" panose="020B0604020202020204" pitchFamily="34" charset="0"/>
              <a:buChar char="•"/>
            </a:pPr>
            <a:r>
              <a:rPr lang="en-GB" sz="1600"/>
              <a:t>How to inspect a DF? </a:t>
            </a:r>
          </a:p>
          <a:p>
            <a:pPr marL="285750" indent="-285750">
              <a:buFont typeface="Arial" panose="020B0604020202020204" pitchFamily="34" charset="0"/>
              <a:buChar char="•"/>
            </a:pPr>
            <a:r>
              <a:rPr lang="en-GB" sz="1600"/>
              <a:t>How to access data in a DF?</a:t>
            </a:r>
          </a:p>
          <a:p>
            <a:pPr marL="285750" indent="-285750">
              <a:buFont typeface="Arial" panose="020B0604020202020204" pitchFamily="34" charset="0"/>
              <a:buChar char="•"/>
            </a:pPr>
            <a:r>
              <a:rPr lang="en-GB" sz="1600"/>
              <a:t>How to change a DF? (hint: copy it first)</a:t>
            </a:r>
          </a:p>
          <a:p>
            <a:pPr marL="285750" indent="-285750">
              <a:buFont typeface="Arial" panose="020B0604020202020204" pitchFamily="34" charset="0"/>
              <a:buChar char="•"/>
            </a:pPr>
            <a:r>
              <a:rPr lang="en-GB" sz="1600" b="1"/>
              <a:t>Add a column to a DF</a:t>
            </a:r>
          </a:p>
          <a:p>
            <a:pPr marL="285750" indent="-285750">
              <a:buFont typeface="Arial" panose="020B0604020202020204" pitchFamily="34" charset="0"/>
              <a:buChar char="•"/>
            </a:pPr>
            <a:r>
              <a:rPr lang="en-GB" sz="1600" b="1"/>
              <a:t>Arithmetic with entire columns</a:t>
            </a:r>
          </a:p>
          <a:p>
            <a:pPr marL="285750" indent="-285750">
              <a:buFont typeface="Arial" panose="020B0604020202020204" pitchFamily="34" charset="0"/>
              <a:buChar char="•"/>
            </a:pPr>
            <a:r>
              <a:rPr lang="en-GB" sz="1600"/>
              <a:t>Transpose a </a:t>
            </a:r>
            <a:r>
              <a:rPr lang="en-GB" sz="1600" err="1"/>
              <a:t>DataFrame</a:t>
            </a:r>
            <a:endParaRPr lang="en-GB" sz="1600"/>
          </a:p>
          <a:p>
            <a:endParaRPr lang="en-GB" sz="1600"/>
          </a:p>
        </p:txBody>
      </p:sp>
      <p:sp>
        <p:nvSpPr>
          <p:cNvPr id="3" name="Foliennummernplatzhalter 2">
            <a:extLst>
              <a:ext uri="{FF2B5EF4-FFF2-40B4-BE49-F238E27FC236}">
                <a16:creationId xmlns:a16="http://schemas.microsoft.com/office/drawing/2014/main" id="{D7C1CC86-C0E9-FAD8-64A7-E31EB225874F}"/>
              </a:ext>
            </a:extLst>
          </p:cNvPr>
          <p:cNvSpPr>
            <a:spLocks noGrp="1"/>
          </p:cNvSpPr>
          <p:nvPr>
            <p:ph type="sldNum" sz="quarter" idx="16"/>
          </p:nvPr>
        </p:nvSpPr>
        <p:spPr/>
        <p:txBody>
          <a:bodyPr/>
          <a:lstStyle/>
          <a:p>
            <a:fld id="{7559FC98-AF75-4A00-A03C-DF9FEBF6BCB9}" type="slidenum">
              <a:rPr lang="en-GB" smtClean="0"/>
              <a:pPr/>
              <a:t>9</a:t>
            </a:fld>
            <a:endParaRPr lang="en-GB"/>
          </a:p>
        </p:txBody>
      </p:sp>
      <p:sp>
        <p:nvSpPr>
          <p:cNvPr id="6" name="Inhaltsplatzhalter 5">
            <a:extLst>
              <a:ext uri="{FF2B5EF4-FFF2-40B4-BE49-F238E27FC236}">
                <a16:creationId xmlns:a16="http://schemas.microsoft.com/office/drawing/2014/main" id="{AE92BD09-1224-9145-FE1E-132C9A6CD42F}"/>
              </a:ext>
            </a:extLst>
          </p:cNvPr>
          <p:cNvSpPr>
            <a:spLocks noGrp="1"/>
          </p:cNvSpPr>
          <p:nvPr>
            <p:ph sz="half" idx="2"/>
          </p:nvPr>
        </p:nvSpPr>
        <p:spPr/>
        <p:txBody>
          <a:bodyPr/>
          <a:lstStyle/>
          <a:p>
            <a:r>
              <a:rPr lang="en-GB"/>
              <a:t>Like in a </a:t>
            </a:r>
            <a:r>
              <a:rPr lang="en-GB" err="1"/>
              <a:t>dict</a:t>
            </a:r>
            <a:r>
              <a:rPr lang="en-GB"/>
              <a:t>:</a:t>
            </a:r>
          </a:p>
          <a:p>
            <a:endParaRPr lang="en-GB"/>
          </a:p>
          <a:p>
            <a:r>
              <a:rPr lang="en-GB"/>
              <a:t>DF["</a:t>
            </a:r>
            <a:r>
              <a:rPr lang="en-GB" err="1">
                <a:solidFill>
                  <a:srgbClr val="C00000"/>
                </a:solidFill>
              </a:rPr>
              <a:t>new_column_name</a:t>
            </a:r>
            <a:r>
              <a:rPr lang="en-GB"/>
              <a:t>"] = DF['a'] – DF['b’]</a:t>
            </a:r>
          </a:p>
          <a:p>
            <a:endParaRPr lang="en-GB"/>
          </a:p>
          <a:p>
            <a:r>
              <a:rPr lang="en-GB"/>
              <a:t>Note that you can do </a:t>
            </a:r>
            <a:r>
              <a:rPr lang="en-GB" err="1"/>
              <a:t>artithmetic</a:t>
            </a:r>
            <a:r>
              <a:rPr lang="en-GB"/>
              <a:t> operations with columns, e.g., DF['a’] / DF[‘b’].</a:t>
            </a:r>
          </a:p>
        </p:txBody>
      </p:sp>
    </p:spTree>
    <p:extLst>
      <p:ext uri="{BB962C8B-B14F-4D97-AF65-F5344CB8AC3E}">
        <p14:creationId xmlns:p14="http://schemas.microsoft.com/office/powerpoint/2010/main" val="29050488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CS_Theme">
  <a:themeElements>
    <a:clrScheme name="uni stgallen Colors">
      <a:dk1>
        <a:sysClr val="windowText" lastClr="000000"/>
      </a:dk1>
      <a:lt1>
        <a:sysClr val="window" lastClr="FFFFFF"/>
      </a:lt1>
      <a:dk2>
        <a:srgbClr val="0A5F2D"/>
      </a:dk2>
      <a:lt2>
        <a:srgbClr val="FFFFFF"/>
      </a:lt2>
      <a:accent1>
        <a:srgbClr val="00802F"/>
      </a:accent1>
      <a:accent2>
        <a:srgbClr val="E1D7C3"/>
      </a:accent2>
      <a:accent3>
        <a:srgbClr val="EB6969"/>
      </a:accent3>
      <a:accent4>
        <a:srgbClr val="73A5AF"/>
      </a:accent4>
      <a:accent5>
        <a:srgbClr val="FFF04B"/>
      </a:accent5>
      <a:accent6>
        <a:srgbClr val="0A5F2D"/>
      </a:accent6>
      <a:hlink>
        <a:srgbClr val="00802F"/>
      </a:hlink>
      <a:folHlink>
        <a:srgbClr val="0A5F2D"/>
      </a:folHlink>
    </a:clrScheme>
    <a:fontScheme name="uni stgallen Fonts">
      <a:majorFont>
        <a:latin typeface="Gill Sans Nova"/>
        <a:ea typeface=""/>
        <a:cs typeface=""/>
      </a:majorFont>
      <a:minorFont>
        <a:latin typeface="Gill Sans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CS_Theme" id="{14AC96C4-A653-419B-9F98-BCEAB59CA431}" vid="{36A816B0-F4C2-482D-BABA-E7D145EB4E4D}"/>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E5017C11-67CF-41FA-9001-5446285FBB5A}">
  <we:reference id="0978a9cb-a548-4218-ab38-75ef22e0bf01" version="1.0.0.7"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BA3AC0B29D543742836C64EC22DE252D" ma:contentTypeVersion="9" ma:contentTypeDescription="Ein neues Dokument erstellen." ma:contentTypeScope="" ma:versionID="3ac7e300c56cbe738136fa13d3a90518">
  <xsd:schema xmlns:xsd="http://www.w3.org/2001/XMLSchema" xmlns:xs="http://www.w3.org/2001/XMLSchema" xmlns:p="http://schemas.microsoft.com/office/2006/metadata/properties" xmlns:ns2="180db94c-82de-4c89-acb5-d41e1b03bacc" xmlns:ns3="5dc96929-7643-4924-91c0-9b0ff054556d" targetNamespace="http://schemas.microsoft.com/office/2006/metadata/properties" ma:root="true" ma:fieldsID="8e222083bbe7ae665e818514177159bf" ns2:_="" ns3:_="">
    <xsd:import namespace="180db94c-82de-4c89-acb5-d41e1b03bacc"/>
    <xsd:import namespace="5dc96929-7643-4924-91c0-9b0ff054556d"/>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80db94c-82de-4c89-acb5-d41e1b03bac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Bildmarkierungen" ma:readOnly="false" ma:fieldId="{5cf76f15-5ced-4ddc-b409-7134ff3c332f}" ma:taxonomyMulti="true" ma:sspId="e6e639ec-35b1-4635-902a-5d5459502348"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dc96929-7643-4924-91c0-9b0ff054556d"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f537732f-bc61-4787-ba39-90e4ba434c8f}" ma:internalName="TaxCatchAll" ma:showField="CatchAllData" ma:web="5dc96929-7643-4924-91c0-9b0ff054556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5dc96929-7643-4924-91c0-9b0ff054556d" xsi:nil="true"/>
    <lcf76f155ced4ddcb4097134ff3c332f xmlns="180db94c-82de-4c89-acb5-d41e1b03bacc">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3797EA30-374B-4295-8A64-661901D6C270}">
  <ds:schemaRefs>
    <ds:schemaRef ds:uri="180db94c-82de-4c89-acb5-d41e1b03bacc"/>
    <ds:schemaRef ds:uri="5dc96929-7643-4924-91c0-9b0ff054556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7AAF511-705D-4D22-B307-3E691874066C}">
  <ds:schemaRefs>
    <ds:schemaRef ds:uri="http://schemas.microsoft.com/sharepoint/v3/contenttype/forms"/>
  </ds:schemaRefs>
</ds:datastoreItem>
</file>

<file path=customXml/itemProps3.xml><?xml version="1.0" encoding="utf-8"?>
<ds:datastoreItem xmlns:ds="http://schemas.openxmlformats.org/officeDocument/2006/customXml" ds:itemID="{8006C3C9-FB59-4473-BC1F-8644C613D910}">
  <ds:schemaRefs>
    <ds:schemaRef ds:uri="http://purl.org/dc/dcmitype/"/>
    <ds:schemaRef ds:uri="http://www.w3.org/XML/1998/namespace"/>
    <ds:schemaRef ds:uri="http://schemas.microsoft.com/office/infopath/2007/PartnerControls"/>
    <ds:schemaRef ds:uri="http://schemas.microsoft.com/office/2006/documentManagement/types"/>
    <ds:schemaRef ds:uri="http://purl.org/dc/terms/"/>
    <ds:schemaRef ds:uri="http://schemas.openxmlformats.org/package/2006/metadata/core-properties"/>
    <ds:schemaRef ds:uri="5dc96929-7643-4924-91c0-9b0ff054556d"/>
    <ds:schemaRef ds:uri="http://purl.org/dc/elements/1.1/"/>
    <ds:schemaRef ds:uri="180db94c-82de-4c89-acb5-d41e1b03bacc"/>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SCS_Theme</Template>
  <TotalTime>0</TotalTime>
  <Words>2061</Words>
  <Application>Microsoft Office PowerPoint</Application>
  <PresentationFormat>On-screen Show (16:9)</PresentationFormat>
  <Paragraphs>242</Paragraphs>
  <Slides>19</Slides>
  <Notes>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7" baseType="lpstr">
      <vt:lpstr>Arial</vt:lpstr>
      <vt:lpstr>Calibri</vt:lpstr>
      <vt:lpstr>Gill Alt One MT Light</vt:lpstr>
      <vt:lpstr>Gill Sans Nova</vt:lpstr>
      <vt:lpstr>Gill Sans Nova Light</vt:lpstr>
      <vt:lpstr>Wingdings</vt:lpstr>
      <vt:lpstr>SCS_Theme</vt:lpstr>
      <vt:lpstr>think-cell Slide</vt:lpstr>
      <vt:lpstr>Grundlagen und Methoden  der Informatik</vt:lpstr>
      <vt:lpstr>Today’s Menu</vt:lpstr>
      <vt:lpstr>Discussion of Assignment &amp; Quiz 8</vt:lpstr>
      <vt:lpstr>Quiz 8 explanations</vt:lpstr>
      <vt:lpstr>Assignment 8 and Quiz 8</vt:lpstr>
      <vt:lpstr>Assignment 8 and Quiz 8</vt:lpstr>
      <vt:lpstr>Assignment 8 and Quiz 8</vt:lpstr>
      <vt:lpstr>Assignment 8 and Quiz 8</vt:lpstr>
      <vt:lpstr>Assignment 8 and Quiz 8</vt:lpstr>
      <vt:lpstr>Assignment 8 and Quiz 8</vt:lpstr>
      <vt:lpstr>Brief summary of last week’s content </vt:lpstr>
      <vt:lpstr>Merging dataframes - on index (row)</vt:lpstr>
      <vt:lpstr>Merging dataframes – on column</vt:lpstr>
      <vt:lpstr>Applying functions to dataframe rows or columns</vt:lpstr>
      <vt:lpstr>Other DataFrame methods</vt:lpstr>
      <vt:lpstr>Dividing a DataFrame into groups</vt:lpstr>
      <vt:lpstr>Reshaping a dataframe</vt:lpstr>
      <vt:lpstr>Now you have everything you need to start with Assignment 9</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ndamentals and Methods of  Computer Science</dc:title>
  <dc:creator>Stephan Aier</dc:creator>
  <cp:lastModifiedBy>Dominik Buchegger</cp:lastModifiedBy>
  <cp:revision>8</cp:revision>
  <dcterms:created xsi:type="dcterms:W3CDTF">2022-09-12T10:36:05Z</dcterms:created>
  <dcterms:modified xsi:type="dcterms:W3CDTF">2023-05-04T21:07: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3AC0B29D543742836C64EC22DE252D</vt:lpwstr>
  </property>
  <property fmtid="{D5CDD505-2E9C-101B-9397-08002B2CF9AE}" pid="3" name="MediaServiceImageTags">
    <vt:lpwstr/>
  </property>
</Properties>
</file>